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4.xml" ContentType="application/vnd.openxmlformats-officedocument.theme+xml"/>
  <Override PartName="/ppt/tags/tag15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710" r:id="rId5"/>
    <p:sldMasterId id="2147483769" r:id="rId6"/>
    <p:sldMasterId id="2147483788" r:id="rId7"/>
  </p:sldMasterIdLst>
  <p:notesMasterIdLst>
    <p:notesMasterId r:id="rId23"/>
  </p:notesMasterIdLst>
  <p:sldIdLst>
    <p:sldId id="256" r:id="rId8"/>
    <p:sldId id="1256" r:id="rId9"/>
    <p:sldId id="1255" r:id="rId10"/>
    <p:sldId id="1244" r:id="rId11"/>
    <p:sldId id="258" r:id="rId12"/>
    <p:sldId id="774" r:id="rId13"/>
    <p:sldId id="1248" r:id="rId14"/>
    <p:sldId id="1252" r:id="rId15"/>
    <p:sldId id="265" r:id="rId16"/>
    <p:sldId id="1249" r:id="rId17"/>
    <p:sldId id="1254" r:id="rId18"/>
    <p:sldId id="273" r:id="rId19"/>
    <p:sldId id="698" r:id="rId20"/>
    <p:sldId id="1251" r:id="rId21"/>
    <p:sldId id="708" r:id="rId22"/>
  </p:sldIdLst>
  <p:sldSz cx="12192000" cy="6858000"/>
  <p:notesSz cx="12192000" cy="685800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940E302-B287-2B99-452B-65EE42DC2177}" name="Cooke, Julia" initials="CJ" userId="S::jucooke@deloitte.com::b1926b92-0b28-4640-b994-86cb439bec10" providerId="AD"/>
  <p188:author id="{B345E834-07F5-85BC-118E-6BD91BC17DFC}" name="Privitera, Giovanni" initials="PG" userId="S::giprivitera@deloitte.com::dc58203a-2e76-4353-8cb6-6f3dce79d071" providerId="AD"/>
  <p188:author id="{87908139-A633-5C15-CCD3-3900F6E3D7D7}" name="Hoppler, Katie" initials="HK" userId="S::khoppler@deloitte.com::39062d37-0dd0-4465-90a9-081933587889" providerId="AD"/>
  <p188:author id="{3FD4F481-44F0-5033-42FC-7C369A9993E0}" name="Salazar, Ameyali J" initials="SAJ" userId="S::amsalazar@deloitte.com::abddcbef-411f-4425-9eb8-830eb670ce4e" providerId="AD"/>
  <p188:author id="{B3DBA489-8286-93D9-BC97-C2260C2487C2}" name="Ogunnaike, Zhanna V" initials="OV" userId="S::zogunnaike@pa.gov::b6c2a81d-46d5-4f38-9a12-c91e94efa447" providerId="AD"/>
  <p188:author id="{46F3E4C5-9AD8-252A-82E0-0495933E5EC4}" name="Schreib, Jillian" initials="SJ" userId="S::jschreib@pa.gov::aec69590-bb91-47eb-8a29-52fb741bb674" providerId="AD"/>
  <p188:author id="{330759C8-B8BE-A34C-0C04-F6D030DAC80E}" name="Ferguson, Joseph (QRM)" initials="QRM" userId="Ferguson, Joseph (QRM)" providerId="None"/>
  <p188:author id="{315692ED-849D-D96B-67E8-940212B4D1B2}" name="Cappello, Chrystina" initials="CC" userId="S::ccappello@deloitte.com::aad4aabe-037d-46d2-9428-551ea9d5205c" providerId="AD"/>
  <p188:author id="{B0C852F1-BAE7-61B0-7D34-11D54E5C1F92}" name="Harper, Bobbie" initials="BH" userId="Harper, Bobbie" providerId="None"/>
  <p188:author id="{F00DF0F2-9EA7-1498-0A58-ACD1841AD457}" name="Cohen, Dan" initials="CD" userId="S::dancohen7@deloitte.com::b657c114-dcfb-4fec-a413-0dab1aa10b7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7A9"/>
    <a:srgbClr val="4C7E40"/>
    <a:srgbClr val="333F50"/>
    <a:srgbClr val="DAA600"/>
    <a:srgbClr val="005587"/>
    <a:srgbClr val="7CC3D6"/>
    <a:srgbClr val="43B02A"/>
    <a:srgbClr val="B7DEE8"/>
    <a:srgbClr val="0070C0"/>
    <a:srgbClr val="0121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7FC3CE3-B084-4289-82C8-D1311ADAD543}" v="21" dt="2023-05-01T23:13:41.38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99" autoAdjust="0"/>
    <p:restoredTop sz="86418" autoAdjust="0"/>
  </p:normalViewPr>
  <p:slideViewPr>
    <p:cSldViewPr snapToGrid="0">
      <p:cViewPr varScale="1">
        <p:scale>
          <a:sx n="62" d="100"/>
          <a:sy n="62" d="100"/>
        </p:scale>
        <p:origin x="86" y="322"/>
      </p:cViewPr>
      <p:guideLst>
        <p:guide orient="horz" pos="288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notesMaster" Target="notesMasters/notesMaster1.xml"/><Relationship Id="rId28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F9761E-C7A2-4799-8C20-998D0A233713}" type="doc">
      <dgm:prSet loTypeId="urn:microsoft.com/office/officeart/2005/8/layout/list1" loCatId="list" qsTypeId="urn:microsoft.com/office/officeart/2005/8/quickstyle/simple4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595FABFA-9313-4A83-AF26-79EE18DF9127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rgbClr val="64A0C4"/>
        </a:solidFill>
        <a:ln>
          <a:noFill/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ESSER Monitoring: Your Friendly Neighborhood Monitor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B089A8C7-15F4-412C-A017-66A7669393F9}" type="parTrans" cxnId="{FC6040D4-71ED-4B4B-9BFF-E5C5C862506E}">
      <dgm:prSet/>
      <dgm:spPr/>
      <dgm:t>
        <a:bodyPr/>
        <a:lstStyle/>
        <a:p>
          <a:endParaRPr lang="en-US"/>
        </a:p>
      </dgm:t>
    </dgm:pt>
    <dgm:pt modelId="{9341925D-91D4-4B01-A770-22A498B269CF}" type="sibTrans" cxnId="{FC6040D4-71ED-4B4B-9BFF-E5C5C862506E}">
      <dgm:prSet/>
      <dgm:spPr/>
      <dgm:t>
        <a:bodyPr/>
        <a:lstStyle/>
        <a:p>
          <a:endParaRPr lang="en-US"/>
        </a:p>
      </dgm:t>
    </dgm:pt>
    <dgm:pt modelId="{42B53CAB-CBBF-47FE-9031-D409FF2BE095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Why ESSER is Unique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BF0E1F28-511C-4531-B1A7-A9BEA88100A6}" type="parTrans" cxnId="{78F9E76A-E973-4253-8C26-86FF2AF02177}">
      <dgm:prSet/>
      <dgm:spPr/>
      <dgm:t>
        <a:bodyPr/>
        <a:lstStyle/>
        <a:p>
          <a:endParaRPr lang="en-US"/>
        </a:p>
      </dgm:t>
    </dgm:pt>
    <dgm:pt modelId="{E01966BA-BD65-428A-8A64-58A86AC5D758}" type="sibTrans" cxnId="{78F9E76A-E973-4253-8C26-86FF2AF02177}">
      <dgm:prSet/>
      <dgm:spPr/>
      <dgm:t>
        <a:bodyPr/>
        <a:lstStyle/>
        <a:p>
          <a:endParaRPr lang="en-US"/>
        </a:p>
      </dgm:t>
    </dgm:pt>
    <dgm:pt modelId="{19A6A449-D17B-4059-A5AF-8D5A7088A9DF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rgbClr val="64A0C4"/>
        </a:solidFill>
        <a:ln>
          <a:noFill/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ading Practices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E7573C48-DAD2-42A5-A982-CD670D1EE8D6}" type="parTrans" cxnId="{1337D21A-81F4-4540-B6F9-AA5BAEB401B2}">
      <dgm:prSet/>
      <dgm:spPr/>
      <dgm:t>
        <a:bodyPr/>
        <a:lstStyle/>
        <a:p>
          <a:endParaRPr lang="en-US"/>
        </a:p>
      </dgm:t>
    </dgm:pt>
    <dgm:pt modelId="{DA8EFCD4-4879-4DEE-83AD-CE9ECECABE47}" type="sibTrans" cxnId="{1337D21A-81F4-4540-B6F9-AA5BAEB401B2}">
      <dgm:prSet/>
      <dgm:spPr/>
      <dgm:t>
        <a:bodyPr/>
        <a:lstStyle/>
        <a:p>
          <a:endParaRPr lang="en-US"/>
        </a:p>
      </dgm:t>
    </dgm:pt>
    <dgm:pt modelId="{BD3FEC11-81C6-4DD6-B0DD-C85B712ED848}">
      <dgm:prSet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solidFill>
          <a:srgbClr val="64A0C4"/>
        </a:solidFill>
        <a:ln>
          <a:noFill/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reparing for Closeout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A279EC26-42F2-44EC-AD30-24EE37405EF6}" type="parTrans" cxnId="{B36042D6-853B-4069-B7CF-08FAF41B5478}">
      <dgm:prSet/>
      <dgm:spPr/>
      <dgm:t>
        <a:bodyPr/>
        <a:lstStyle/>
        <a:p>
          <a:endParaRPr lang="en-US"/>
        </a:p>
      </dgm:t>
    </dgm:pt>
    <dgm:pt modelId="{E65279BA-C88F-4961-BFE4-C5221B156FD5}" type="sibTrans" cxnId="{B36042D6-853B-4069-B7CF-08FAF41B5478}">
      <dgm:prSet/>
      <dgm:spPr/>
      <dgm:t>
        <a:bodyPr/>
        <a:lstStyle/>
        <a:p>
          <a:endParaRPr lang="en-US"/>
        </a:p>
      </dgm:t>
    </dgm:pt>
    <dgm:pt modelId="{E5FE046A-6B05-4CCE-81F6-41BE677E6C53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omplete Files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8DF7D855-0F3D-4A8E-AB39-AABFF46ABB00}" type="parTrans" cxnId="{ED900037-D174-4106-8953-5A1F6DB52D77}">
      <dgm:prSet/>
      <dgm:spPr/>
      <dgm:t>
        <a:bodyPr/>
        <a:lstStyle/>
        <a:p>
          <a:endParaRPr lang="en-US"/>
        </a:p>
      </dgm:t>
    </dgm:pt>
    <dgm:pt modelId="{3DB08964-760D-4033-8B49-D366438E18F3}" type="sibTrans" cxnId="{ED900037-D174-4106-8953-5A1F6DB52D77}">
      <dgm:prSet/>
      <dgm:spPr/>
      <dgm:t>
        <a:bodyPr/>
        <a:lstStyle/>
        <a:p>
          <a:endParaRPr lang="en-US"/>
        </a:p>
      </dgm:t>
    </dgm:pt>
    <dgm:pt modelId="{FF296283-6895-4548-942C-6A6D85B70C8A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kumimoji="0" lang="en-US" b="0" i="0" u="none" strike="noStrike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ESSER Monitoring Goals</a:t>
          </a:r>
          <a:endParaRPr lang="en-US" b="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355B44A6-ACDF-4A2E-8B3A-836B59E4BACA}" type="parTrans" cxnId="{3E20B887-8ED9-462F-8792-5EFFA2AE3A15}">
      <dgm:prSet/>
      <dgm:spPr/>
      <dgm:t>
        <a:bodyPr/>
        <a:lstStyle/>
        <a:p>
          <a:endParaRPr lang="en-US"/>
        </a:p>
      </dgm:t>
    </dgm:pt>
    <dgm:pt modelId="{1B06C6B8-2BF9-4DF4-8471-678AEEF7EA23}" type="sibTrans" cxnId="{3E20B887-8ED9-462F-8792-5EFFA2AE3A15}">
      <dgm:prSet/>
      <dgm:spPr/>
      <dgm:t>
        <a:bodyPr/>
        <a:lstStyle/>
        <a:p>
          <a:endParaRPr lang="en-US"/>
        </a:p>
      </dgm:t>
    </dgm:pt>
    <dgm:pt modelId="{AB3F688D-7149-41D4-B187-C37DC727BA15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ading Practices: What Successful LEAs Are Doing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FEE181F5-D605-4560-ADF3-A57E1D4DCD06}" type="parTrans" cxnId="{DCB64ED2-F018-499A-807C-F4C73205044D}">
      <dgm:prSet/>
      <dgm:spPr/>
      <dgm:t>
        <a:bodyPr/>
        <a:lstStyle/>
        <a:p>
          <a:endParaRPr lang="en-US"/>
        </a:p>
      </dgm:t>
    </dgm:pt>
    <dgm:pt modelId="{C841288F-A8CD-4933-9084-E6D3B900E847}" type="sibTrans" cxnId="{DCB64ED2-F018-499A-807C-F4C73205044D}">
      <dgm:prSet/>
      <dgm:spPr/>
      <dgm:t>
        <a:bodyPr/>
        <a:lstStyle/>
        <a:p>
          <a:endParaRPr lang="en-US"/>
        </a:p>
      </dgm:t>
    </dgm:pt>
    <dgm:pt modelId="{5FB18CAE-987A-4B44-A32F-E37C598D42E9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Feedback Received From LEAs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4EBF58F1-D0AF-489D-BDE1-CFE119ECE2F3}" type="parTrans" cxnId="{049163B9-D9F1-48D7-A0E4-037DCE0E7CEB}">
      <dgm:prSet/>
      <dgm:spPr/>
      <dgm:t>
        <a:bodyPr/>
        <a:lstStyle/>
        <a:p>
          <a:endParaRPr lang="en-US"/>
        </a:p>
      </dgm:t>
    </dgm:pt>
    <dgm:pt modelId="{D6F2A012-10F7-4D0E-863C-1890A2E76615}" type="sibTrans" cxnId="{049163B9-D9F1-48D7-A0E4-037DCE0E7CEB}">
      <dgm:prSet/>
      <dgm:spPr/>
      <dgm:t>
        <a:bodyPr/>
        <a:lstStyle/>
        <a:p>
          <a:endParaRPr lang="en-US"/>
        </a:p>
      </dgm:t>
    </dgm:pt>
    <dgm:pt modelId="{C9A6A889-2FBA-4180-8B56-B7C411F5C3FA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Recordkeeping: Keep It Where You Can Retrieve It….Quickly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E5D5F8D8-5F49-4E6F-87D2-AB0E2C3F392D}" type="parTrans" cxnId="{77FD4E71-756E-49D8-8EB8-C437F97C6CAC}">
      <dgm:prSet/>
      <dgm:spPr/>
      <dgm:t>
        <a:bodyPr/>
        <a:lstStyle/>
        <a:p>
          <a:endParaRPr lang="en-US"/>
        </a:p>
      </dgm:t>
    </dgm:pt>
    <dgm:pt modelId="{9FA6FE5F-4967-4C91-ACDC-A0BAC4639989}" type="sibTrans" cxnId="{77FD4E71-756E-49D8-8EB8-C437F97C6CAC}">
      <dgm:prSet/>
      <dgm:spPr/>
      <dgm:t>
        <a:bodyPr/>
        <a:lstStyle/>
        <a:p>
          <a:endParaRPr lang="en-US"/>
        </a:p>
      </dgm:t>
    </dgm:pt>
    <dgm:pt modelId="{552810A1-AB22-4171-859D-81C342986B89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olicies and Procedures: Practice What You Preach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693AA0AF-C710-4271-9B90-4F829012FC3E}" type="parTrans" cxnId="{69AC9848-ACA5-400A-8A93-E927FDCC2267}">
      <dgm:prSet/>
      <dgm:spPr/>
      <dgm:t>
        <a:bodyPr/>
        <a:lstStyle/>
        <a:p>
          <a:endParaRPr lang="en-US"/>
        </a:p>
      </dgm:t>
    </dgm:pt>
    <dgm:pt modelId="{A44F9DAA-8400-4492-87EB-BD8414D54408}" type="sibTrans" cxnId="{69AC9848-ACA5-400A-8A93-E927FDCC2267}">
      <dgm:prSet/>
      <dgm:spPr/>
      <dgm:t>
        <a:bodyPr/>
        <a:lstStyle/>
        <a:p>
          <a:endParaRPr lang="en-US"/>
        </a:p>
      </dgm:t>
    </dgm:pt>
    <dgm:pt modelId="{DBF6C6E6-31F2-4CB7-B9A3-0C92239E81A1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arnings from Monitoring</a:t>
          </a:r>
        </a:p>
      </dgm:t>
    </dgm:pt>
    <dgm:pt modelId="{E71CDB2F-C576-4D1A-9D27-588B11E73D4D}" type="sibTrans" cxnId="{50EDD93B-5666-404B-B142-0DCF8776170D}">
      <dgm:prSet/>
      <dgm:spPr/>
      <dgm:t>
        <a:bodyPr/>
        <a:lstStyle/>
        <a:p>
          <a:endParaRPr lang="en-US"/>
        </a:p>
      </dgm:t>
    </dgm:pt>
    <dgm:pt modelId="{1A228E3C-B96A-4DDD-8910-F9E0D27D45C9}" type="parTrans" cxnId="{50EDD93B-5666-404B-B142-0DCF8776170D}">
      <dgm:prSet/>
      <dgm:spPr/>
      <dgm:t>
        <a:bodyPr/>
        <a:lstStyle/>
        <a:p>
          <a:endParaRPr lang="en-US"/>
        </a:p>
      </dgm:t>
    </dgm:pt>
    <dgm:pt modelId="{91A916CC-CFBC-4620-B452-A2065156DF0E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Single Audit Completion</a:t>
          </a:r>
        </a:p>
      </dgm:t>
    </dgm:pt>
    <dgm:pt modelId="{92DDA6BE-4B96-45AE-B403-3866067DC620}" type="sibTrans" cxnId="{F7A0A9BA-D2DB-44C9-924C-862A76C118B6}">
      <dgm:prSet/>
      <dgm:spPr/>
      <dgm:t>
        <a:bodyPr/>
        <a:lstStyle/>
        <a:p>
          <a:endParaRPr lang="en-US"/>
        </a:p>
      </dgm:t>
    </dgm:pt>
    <dgm:pt modelId="{FC7F1388-84FB-4651-9408-7B8B5AEEBD8A}" type="parTrans" cxnId="{F7A0A9BA-D2DB-44C9-924C-862A76C118B6}">
      <dgm:prSet/>
      <dgm:spPr/>
      <dgm:t>
        <a:bodyPr/>
        <a:lstStyle/>
        <a:p>
          <a:endParaRPr lang="en-US"/>
        </a:p>
      </dgm:t>
    </dgm:pt>
    <dgm:pt modelId="{6992F2D9-50B6-453A-9C97-57C19043F520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Final Reporting</a:t>
          </a:r>
        </a:p>
      </dgm:t>
    </dgm:pt>
    <dgm:pt modelId="{B892BD68-7557-4663-98E2-0AEF912AAB46}" type="sibTrans" cxnId="{8C87AA4A-4AD4-4BF4-98DC-8CB2433DF85C}">
      <dgm:prSet/>
      <dgm:spPr/>
      <dgm:t>
        <a:bodyPr/>
        <a:lstStyle/>
        <a:p>
          <a:endParaRPr lang="en-US"/>
        </a:p>
      </dgm:t>
    </dgm:pt>
    <dgm:pt modelId="{214E5EF2-78DE-48E5-8807-54CE4448AEED}" type="parTrans" cxnId="{8C87AA4A-4AD4-4BF4-98DC-8CB2433DF85C}">
      <dgm:prSet/>
      <dgm:spPr/>
      <dgm:t>
        <a:bodyPr/>
        <a:lstStyle/>
        <a:p>
          <a:endParaRPr lang="en-US"/>
        </a:p>
      </dgm:t>
    </dgm:pt>
    <dgm:pt modelId="{03E3530F-BAAC-42DE-98B2-D18697F3F8A3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pPr>
            <a:buClrTx/>
            <a:buSzTx/>
            <a:buFont typeface="Arial" panose="020B0604020202020204" pitchFamily="34" charset="0"/>
            <a:buChar char="•"/>
          </a:pPr>
          <a:r>
            <a:rPr kumimoji="0" lang="en-US" b="0" i="0" u="none" strike="noStrike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We’re Your Monitors, Not Your Auditors</a:t>
          </a:r>
          <a:endParaRPr lang="en-US" b="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1904EDCB-A838-413F-8BAD-8F8F68F518CF}" type="parTrans" cxnId="{CA58990F-56FD-4D52-A0AD-9380F8FCF69B}">
      <dgm:prSet/>
      <dgm:spPr/>
      <dgm:t>
        <a:bodyPr/>
        <a:lstStyle/>
        <a:p>
          <a:endParaRPr lang="en-US"/>
        </a:p>
      </dgm:t>
    </dgm:pt>
    <dgm:pt modelId="{172C54C7-4579-425B-80FD-619E6F5895A0}" type="sibTrans" cxnId="{CA58990F-56FD-4D52-A0AD-9380F8FCF69B}">
      <dgm:prSet/>
      <dgm:spPr/>
      <dgm:t>
        <a:bodyPr/>
        <a:lstStyle/>
        <a:p>
          <a:endParaRPr lang="en-US"/>
        </a:p>
      </dgm:t>
    </dgm:pt>
    <dgm:pt modelId="{A7728F45-BFE1-4CDF-9293-17CC9F58FA1C}">
      <dgm:prSet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US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rogress of Monitoring</a:t>
          </a:r>
          <a:endParaRPr lang="en-US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D0F7D2DA-C424-4E80-B709-FB4AC43DEE38}" type="parTrans" cxnId="{1D125FCB-7DA5-41B5-97EE-E64FCCB32C3E}">
      <dgm:prSet/>
      <dgm:spPr/>
      <dgm:t>
        <a:bodyPr/>
        <a:lstStyle/>
        <a:p>
          <a:endParaRPr lang="en-US"/>
        </a:p>
      </dgm:t>
    </dgm:pt>
    <dgm:pt modelId="{3164BA7F-ABDB-4772-AB44-20D100B978B0}" type="sibTrans" cxnId="{1D125FCB-7DA5-41B5-97EE-E64FCCB32C3E}">
      <dgm:prSet/>
      <dgm:spPr/>
      <dgm:t>
        <a:bodyPr/>
        <a:lstStyle/>
        <a:p>
          <a:endParaRPr lang="en-US"/>
        </a:p>
      </dgm:t>
    </dgm:pt>
    <dgm:pt modelId="{0A1940D5-1646-4B05-B1CA-3F67E4F36396}" type="pres">
      <dgm:prSet presAssocID="{A1F9761E-C7A2-4799-8C20-998D0A233713}" presName="linear" presStyleCnt="0">
        <dgm:presLayoutVars>
          <dgm:dir/>
          <dgm:animLvl val="lvl"/>
          <dgm:resizeHandles val="exact"/>
        </dgm:presLayoutVars>
      </dgm:prSet>
      <dgm:spPr/>
    </dgm:pt>
    <dgm:pt modelId="{5ED40D0E-E923-4C98-A208-9E932F96FA92}" type="pres">
      <dgm:prSet presAssocID="{595FABFA-9313-4A83-AF26-79EE18DF9127}" presName="parentLin" presStyleCnt="0"/>
      <dgm:spPr/>
    </dgm:pt>
    <dgm:pt modelId="{B52F76E0-710E-48A0-83F9-B36079818752}" type="pres">
      <dgm:prSet presAssocID="{595FABFA-9313-4A83-AF26-79EE18DF9127}" presName="parentLeftMargin" presStyleLbl="node1" presStyleIdx="0" presStyleCnt="3"/>
      <dgm:spPr/>
    </dgm:pt>
    <dgm:pt modelId="{955D8A26-C560-447A-9A9A-E8135005B4ED}" type="pres">
      <dgm:prSet presAssocID="{595FABFA-9313-4A83-AF26-79EE18DF9127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91E802E9-6C82-4BFA-82A6-DD0C8187D858}" type="pres">
      <dgm:prSet presAssocID="{595FABFA-9313-4A83-AF26-79EE18DF9127}" presName="negativeSpace" presStyleCnt="0"/>
      <dgm:spPr/>
    </dgm:pt>
    <dgm:pt modelId="{3A582F42-4A15-494D-AADF-6D4AA869C29E}" type="pres">
      <dgm:prSet presAssocID="{595FABFA-9313-4A83-AF26-79EE18DF9127}" presName="childText" presStyleLbl="conFgAcc1" presStyleIdx="0" presStyleCnt="3">
        <dgm:presLayoutVars>
          <dgm:bulletEnabled val="1"/>
        </dgm:presLayoutVars>
      </dgm:prSet>
      <dgm:spPr/>
    </dgm:pt>
    <dgm:pt modelId="{4DF083FE-6216-4FB1-8646-AB49503F5D81}" type="pres">
      <dgm:prSet presAssocID="{9341925D-91D4-4B01-A770-22A498B269CF}" presName="spaceBetweenRectangles" presStyleCnt="0"/>
      <dgm:spPr/>
    </dgm:pt>
    <dgm:pt modelId="{88F0E4C6-1C36-4925-B924-78AE858F172E}" type="pres">
      <dgm:prSet presAssocID="{19A6A449-D17B-4059-A5AF-8D5A7088A9DF}" presName="parentLin" presStyleCnt="0"/>
      <dgm:spPr/>
    </dgm:pt>
    <dgm:pt modelId="{D76B542D-E86D-4B34-A21E-211A27F5630D}" type="pres">
      <dgm:prSet presAssocID="{19A6A449-D17B-4059-A5AF-8D5A7088A9DF}" presName="parentLeftMargin" presStyleLbl="node1" presStyleIdx="0" presStyleCnt="3"/>
      <dgm:spPr/>
    </dgm:pt>
    <dgm:pt modelId="{2B9A0112-FD7B-4ECE-B98D-453F7E41BADE}" type="pres">
      <dgm:prSet presAssocID="{19A6A449-D17B-4059-A5AF-8D5A7088A9DF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8DAE3618-5641-46D3-8A4C-6769E6A115FD}" type="pres">
      <dgm:prSet presAssocID="{19A6A449-D17B-4059-A5AF-8D5A7088A9DF}" presName="negativeSpace" presStyleCnt="0"/>
      <dgm:spPr/>
    </dgm:pt>
    <dgm:pt modelId="{4B71DA79-D508-42C4-9830-8608F21B72F9}" type="pres">
      <dgm:prSet presAssocID="{19A6A449-D17B-4059-A5AF-8D5A7088A9DF}" presName="childText" presStyleLbl="conFgAcc1" presStyleIdx="1" presStyleCnt="3">
        <dgm:presLayoutVars>
          <dgm:bulletEnabled val="1"/>
        </dgm:presLayoutVars>
      </dgm:prSet>
      <dgm:spPr/>
    </dgm:pt>
    <dgm:pt modelId="{BEB1F390-E5E5-46EB-B34D-192265CB163E}" type="pres">
      <dgm:prSet presAssocID="{DA8EFCD4-4879-4DEE-83AD-CE9ECECABE47}" presName="spaceBetweenRectangles" presStyleCnt="0"/>
      <dgm:spPr/>
    </dgm:pt>
    <dgm:pt modelId="{9517C43C-EC56-4F55-B5EC-345E72859818}" type="pres">
      <dgm:prSet presAssocID="{BD3FEC11-81C6-4DD6-B0DD-C85B712ED848}" presName="parentLin" presStyleCnt="0"/>
      <dgm:spPr/>
    </dgm:pt>
    <dgm:pt modelId="{1DCFC9B2-9EFE-4074-82E8-94E95D9E9100}" type="pres">
      <dgm:prSet presAssocID="{BD3FEC11-81C6-4DD6-B0DD-C85B712ED848}" presName="parentLeftMargin" presStyleLbl="node1" presStyleIdx="1" presStyleCnt="3"/>
      <dgm:spPr/>
    </dgm:pt>
    <dgm:pt modelId="{33CD39AF-610D-498C-8900-E34E34702411}" type="pres">
      <dgm:prSet presAssocID="{BD3FEC11-81C6-4DD6-B0DD-C85B712ED848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F488948D-E09F-4BA4-B46F-D4DE13992151}" type="pres">
      <dgm:prSet presAssocID="{BD3FEC11-81C6-4DD6-B0DD-C85B712ED848}" presName="negativeSpace" presStyleCnt="0"/>
      <dgm:spPr/>
    </dgm:pt>
    <dgm:pt modelId="{53EB327E-DBC1-4872-8FB6-9629AFB20436}" type="pres">
      <dgm:prSet presAssocID="{BD3FEC11-81C6-4DD6-B0DD-C85B712ED848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068C0A02-C179-451E-9919-987C7741098E}" type="presOf" srcId="{C9A6A889-2FBA-4180-8B56-B7C411F5C3FA}" destId="{4B71DA79-D508-42C4-9830-8608F21B72F9}" srcOrd="0" destOrd="1" presId="urn:microsoft.com/office/officeart/2005/8/layout/list1"/>
    <dgm:cxn modelId="{CA58990F-56FD-4D52-A0AD-9380F8FCF69B}" srcId="{595FABFA-9313-4A83-AF26-79EE18DF9127}" destId="{03E3530F-BAAC-42DE-98B2-D18697F3F8A3}" srcOrd="2" destOrd="0" parTransId="{1904EDCB-A838-413F-8BAD-8F8F68F518CF}" sibTransId="{172C54C7-4579-425B-80FD-619E6F5895A0}"/>
    <dgm:cxn modelId="{634E0A18-9A7F-4634-91F2-788B840223AD}" type="presOf" srcId="{595FABFA-9313-4A83-AF26-79EE18DF9127}" destId="{B52F76E0-710E-48A0-83F9-B36079818752}" srcOrd="0" destOrd="0" presId="urn:microsoft.com/office/officeart/2005/8/layout/list1"/>
    <dgm:cxn modelId="{1337D21A-81F4-4540-B6F9-AA5BAEB401B2}" srcId="{A1F9761E-C7A2-4799-8C20-998D0A233713}" destId="{19A6A449-D17B-4059-A5AF-8D5A7088A9DF}" srcOrd="1" destOrd="0" parTransId="{E7573C48-DAD2-42A5-A982-CD670D1EE8D6}" sibTransId="{DA8EFCD4-4879-4DEE-83AD-CE9ECECABE47}"/>
    <dgm:cxn modelId="{A988AF23-BD66-462A-8149-28881498A050}" type="presOf" srcId="{BD3FEC11-81C6-4DD6-B0DD-C85B712ED848}" destId="{1DCFC9B2-9EFE-4074-82E8-94E95D9E9100}" srcOrd="0" destOrd="0" presId="urn:microsoft.com/office/officeart/2005/8/layout/list1"/>
    <dgm:cxn modelId="{8AF42824-E870-44BA-B7D3-2BF4D361AF39}" type="presOf" srcId="{91A916CC-CFBC-4620-B452-A2065156DF0E}" destId="{53EB327E-DBC1-4872-8FB6-9629AFB20436}" srcOrd="0" destOrd="2" presId="urn:microsoft.com/office/officeart/2005/8/layout/list1"/>
    <dgm:cxn modelId="{4AEBDE2F-6F7F-4763-886E-5AEE93F15CCA}" type="presOf" srcId="{42B53CAB-CBBF-47FE-9031-D409FF2BE095}" destId="{3A582F42-4A15-494D-AADF-6D4AA869C29E}" srcOrd="0" destOrd="0" presId="urn:microsoft.com/office/officeart/2005/8/layout/list1"/>
    <dgm:cxn modelId="{6F9C9A30-33A0-4140-9F78-878A9334715E}" type="presOf" srcId="{A1F9761E-C7A2-4799-8C20-998D0A233713}" destId="{0A1940D5-1646-4B05-B1CA-3F67E4F36396}" srcOrd="0" destOrd="0" presId="urn:microsoft.com/office/officeart/2005/8/layout/list1"/>
    <dgm:cxn modelId="{ED900037-D174-4106-8953-5A1F6DB52D77}" srcId="{BD3FEC11-81C6-4DD6-B0DD-C85B712ED848}" destId="{E5FE046A-6B05-4CCE-81F6-41BE677E6C53}" srcOrd="0" destOrd="0" parTransId="{8DF7D855-0F3D-4A8E-AB39-AABFF46ABB00}" sibTransId="{3DB08964-760D-4033-8B49-D366438E18F3}"/>
    <dgm:cxn modelId="{50EDD93B-5666-404B-B142-0DCF8776170D}" srcId="{BD3FEC11-81C6-4DD6-B0DD-C85B712ED848}" destId="{DBF6C6E6-31F2-4CB7-B9A3-0C92239E81A1}" srcOrd="1" destOrd="0" parTransId="{1A228E3C-B96A-4DDD-8910-F9E0D27D45C9}" sibTransId="{E71CDB2F-C576-4D1A-9D27-588B11E73D4D}"/>
    <dgm:cxn modelId="{3D4DB95C-3436-416C-89F2-9E1D95EB29D7}" type="presOf" srcId="{19A6A449-D17B-4059-A5AF-8D5A7088A9DF}" destId="{2B9A0112-FD7B-4ECE-B98D-453F7E41BADE}" srcOrd="1" destOrd="0" presId="urn:microsoft.com/office/officeart/2005/8/layout/list1"/>
    <dgm:cxn modelId="{D9CA045F-A655-4BED-8AEB-3FE302358AEF}" type="presOf" srcId="{FF296283-6895-4548-942C-6A6D85B70C8A}" destId="{3A582F42-4A15-494D-AADF-6D4AA869C29E}" srcOrd="0" destOrd="1" presId="urn:microsoft.com/office/officeart/2005/8/layout/list1"/>
    <dgm:cxn modelId="{2D089267-173C-48FE-9FAD-556A081A2AD7}" type="presOf" srcId="{BD3FEC11-81C6-4DD6-B0DD-C85B712ED848}" destId="{33CD39AF-610D-498C-8900-E34E34702411}" srcOrd="1" destOrd="0" presId="urn:microsoft.com/office/officeart/2005/8/layout/list1"/>
    <dgm:cxn modelId="{69AC9848-ACA5-400A-8A93-E927FDCC2267}" srcId="{19A6A449-D17B-4059-A5AF-8D5A7088A9DF}" destId="{552810A1-AB22-4171-859D-81C342986B89}" srcOrd="2" destOrd="0" parTransId="{693AA0AF-C710-4271-9B90-4F829012FC3E}" sibTransId="{A44F9DAA-8400-4492-87EB-BD8414D54408}"/>
    <dgm:cxn modelId="{880E8D6A-AAB1-4369-9ADF-015472D6C003}" type="presOf" srcId="{5FB18CAE-987A-4B44-A32F-E37C598D42E9}" destId="{3A582F42-4A15-494D-AADF-6D4AA869C29E}" srcOrd="0" destOrd="3" presId="urn:microsoft.com/office/officeart/2005/8/layout/list1"/>
    <dgm:cxn modelId="{8C87AA4A-4AD4-4BF4-98DC-8CB2433DF85C}" srcId="{BD3FEC11-81C6-4DD6-B0DD-C85B712ED848}" destId="{6992F2D9-50B6-453A-9C97-57C19043F520}" srcOrd="3" destOrd="0" parTransId="{214E5EF2-78DE-48E5-8807-54CE4448AEED}" sibTransId="{B892BD68-7557-4663-98E2-0AEF912AAB46}"/>
    <dgm:cxn modelId="{78F9E76A-E973-4253-8C26-86FF2AF02177}" srcId="{595FABFA-9313-4A83-AF26-79EE18DF9127}" destId="{42B53CAB-CBBF-47FE-9031-D409FF2BE095}" srcOrd="0" destOrd="0" parTransId="{BF0E1F28-511C-4531-B1A7-A9BEA88100A6}" sibTransId="{E01966BA-BD65-428A-8A64-58A86AC5D758}"/>
    <dgm:cxn modelId="{77FD4E71-756E-49D8-8EB8-C437F97C6CAC}" srcId="{19A6A449-D17B-4059-A5AF-8D5A7088A9DF}" destId="{C9A6A889-2FBA-4180-8B56-B7C411F5C3FA}" srcOrd="1" destOrd="0" parTransId="{E5D5F8D8-5F49-4E6F-87D2-AB0E2C3F392D}" sibTransId="{9FA6FE5F-4967-4C91-ACDC-A0BAC4639989}"/>
    <dgm:cxn modelId="{D4BA9155-7B47-4278-A8AF-98CA32BA5092}" type="presOf" srcId="{6992F2D9-50B6-453A-9C97-57C19043F520}" destId="{53EB327E-DBC1-4872-8FB6-9629AFB20436}" srcOrd="0" destOrd="3" presId="urn:microsoft.com/office/officeart/2005/8/layout/list1"/>
    <dgm:cxn modelId="{3E20B887-8ED9-462F-8792-5EFFA2AE3A15}" srcId="{595FABFA-9313-4A83-AF26-79EE18DF9127}" destId="{FF296283-6895-4548-942C-6A6D85B70C8A}" srcOrd="1" destOrd="0" parTransId="{355B44A6-ACDF-4A2E-8B3A-836B59E4BACA}" sibTransId="{1B06C6B8-2BF9-4DF4-8471-678AEEF7EA23}"/>
    <dgm:cxn modelId="{D7D18F88-5AB4-49E2-A5CA-F46EE55FAC7E}" type="presOf" srcId="{03E3530F-BAAC-42DE-98B2-D18697F3F8A3}" destId="{3A582F42-4A15-494D-AADF-6D4AA869C29E}" srcOrd="0" destOrd="2" presId="urn:microsoft.com/office/officeart/2005/8/layout/list1"/>
    <dgm:cxn modelId="{458AE7A1-80E8-4615-AE58-D42D517A15E2}" type="presOf" srcId="{E5FE046A-6B05-4CCE-81F6-41BE677E6C53}" destId="{53EB327E-DBC1-4872-8FB6-9629AFB20436}" srcOrd="0" destOrd="0" presId="urn:microsoft.com/office/officeart/2005/8/layout/list1"/>
    <dgm:cxn modelId="{252A40A8-6DDC-49E4-909C-DEA9E0F16D7C}" type="presOf" srcId="{595FABFA-9313-4A83-AF26-79EE18DF9127}" destId="{955D8A26-C560-447A-9A9A-E8135005B4ED}" srcOrd="1" destOrd="0" presId="urn:microsoft.com/office/officeart/2005/8/layout/list1"/>
    <dgm:cxn modelId="{049163B9-D9F1-48D7-A0E4-037DCE0E7CEB}" srcId="{595FABFA-9313-4A83-AF26-79EE18DF9127}" destId="{5FB18CAE-987A-4B44-A32F-E37C598D42E9}" srcOrd="3" destOrd="0" parTransId="{4EBF58F1-D0AF-489D-BDE1-CFE119ECE2F3}" sibTransId="{D6F2A012-10F7-4D0E-863C-1890A2E76615}"/>
    <dgm:cxn modelId="{F7A0A9BA-D2DB-44C9-924C-862A76C118B6}" srcId="{BD3FEC11-81C6-4DD6-B0DD-C85B712ED848}" destId="{91A916CC-CFBC-4620-B452-A2065156DF0E}" srcOrd="2" destOrd="0" parTransId="{FC7F1388-84FB-4651-9408-7B8B5AEEBD8A}" sibTransId="{92DDA6BE-4B96-45AE-B403-3866067DC620}"/>
    <dgm:cxn modelId="{66CD63C1-203C-45A9-9DCD-ED89F94E1B07}" type="presOf" srcId="{552810A1-AB22-4171-859D-81C342986B89}" destId="{4B71DA79-D508-42C4-9830-8608F21B72F9}" srcOrd="0" destOrd="2" presId="urn:microsoft.com/office/officeart/2005/8/layout/list1"/>
    <dgm:cxn modelId="{1D125FCB-7DA5-41B5-97EE-E64FCCB32C3E}" srcId="{595FABFA-9313-4A83-AF26-79EE18DF9127}" destId="{A7728F45-BFE1-4CDF-9293-17CC9F58FA1C}" srcOrd="4" destOrd="0" parTransId="{D0F7D2DA-C424-4E80-B709-FB4AC43DEE38}" sibTransId="{3164BA7F-ABDB-4772-AB44-20D100B978B0}"/>
    <dgm:cxn modelId="{0AAFEECF-9B31-4D67-9A16-7F0C1BDB8EB9}" type="presOf" srcId="{19A6A449-D17B-4059-A5AF-8D5A7088A9DF}" destId="{D76B542D-E86D-4B34-A21E-211A27F5630D}" srcOrd="0" destOrd="0" presId="urn:microsoft.com/office/officeart/2005/8/layout/list1"/>
    <dgm:cxn modelId="{DCB64ED2-F018-499A-807C-F4C73205044D}" srcId="{19A6A449-D17B-4059-A5AF-8D5A7088A9DF}" destId="{AB3F688D-7149-41D4-B187-C37DC727BA15}" srcOrd="0" destOrd="0" parTransId="{FEE181F5-D605-4560-ADF3-A57E1D4DCD06}" sibTransId="{C841288F-A8CD-4933-9084-E6D3B900E847}"/>
    <dgm:cxn modelId="{FC6040D4-71ED-4B4B-9BFF-E5C5C862506E}" srcId="{A1F9761E-C7A2-4799-8C20-998D0A233713}" destId="{595FABFA-9313-4A83-AF26-79EE18DF9127}" srcOrd="0" destOrd="0" parTransId="{B089A8C7-15F4-412C-A017-66A7669393F9}" sibTransId="{9341925D-91D4-4B01-A770-22A498B269CF}"/>
    <dgm:cxn modelId="{B36042D6-853B-4069-B7CF-08FAF41B5478}" srcId="{A1F9761E-C7A2-4799-8C20-998D0A233713}" destId="{BD3FEC11-81C6-4DD6-B0DD-C85B712ED848}" srcOrd="2" destOrd="0" parTransId="{A279EC26-42F2-44EC-AD30-24EE37405EF6}" sibTransId="{E65279BA-C88F-4961-BFE4-C5221B156FD5}"/>
    <dgm:cxn modelId="{B00003DA-6BF3-4992-818A-C333E787EC7C}" type="presOf" srcId="{DBF6C6E6-31F2-4CB7-B9A3-0C92239E81A1}" destId="{53EB327E-DBC1-4872-8FB6-9629AFB20436}" srcOrd="0" destOrd="1" presId="urn:microsoft.com/office/officeart/2005/8/layout/list1"/>
    <dgm:cxn modelId="{484FA3F8-6A57-4FD9-9993-2955665EB6F0}" type="presOf" srcId="{AB3F688D-7149-41D4-B187-C37DC727BA15}" destId="{4B71DA79-D508-42C4-9830-8608F21B72F9}" srcOrd="0" destOrd="0" presId="urn:microsoft.com/office/officeart/2005/8/layout/list1"/>
    <dgm:cxn modelId="{21DB7EF9-817C-43DF-A3C6-C8717CCA311C}" type="presOf" srcId="{A7728F45-BFE1-4CDF-9293-17CC9F58FA1C}" destId="{3A582F42-4A15-494D-AADF-6D4AA869C29E}" srcOrd="0" destOrd="4" presId="urn:microsoft.com/office/officeart/2005/8/layout/list1"/>
    <dgm:cxn modelId="{3CAEE161-7935-4970-9BE1-8921ECCC75C6}" type="presParOf" srcId="{0A1940D5-1646-4B05-B1CA-3F67E4F36396}" destId="{5ED40D0E-E923-4C98-A208-9E932F96FA92}" srcOrd="0" destOrd="0" presId="urn:microsoft.com/office/officeart/2005/8/layout/list1"/>
    <dgm:cxn modelId="{E23A980D-83E1-4E8A-978B-827FFBA70062}" type="presParOf" srcId="{5ED40D0E-E923-4C98-A208-9E932F96FA92}" destId="{B52F76E0-710E-48A0-83F9-B36079818752}" srcOrd="0" destOrd="0" presId="urn:microsoft.com/office/officeart/2005/8/layout/list1"/>
    <dgm:cxn modelId="{4DF00430-38F4-4DE6-9D32-9600C34F7EC0}" type="presParOf" srcId="{5ED40D0E-E923-4C98-A208-9E932F96FA92}" destId="{955D8A26-C560-447A-9A9A-E8135005B4ED}" srcOrd="1" destOrd="0" presId="urn:microsoft.com/office/officeart/2005/8/layout/list1"/>
    <dgm:cxn modelId="{53A5EDA4-14CB-4B8D-8402-7C56FF508752}" type="presParOf" srcId="{0A1940D5-1646-4B05-B1CA-3F67E4F36396}" destId="{91E802E9-6C82-4BFA-82A6-DD0C8187D858}" srcOrd="1" destOrd="0" presId="urn:microsoft.com/office/officeart/2005/8/layout/list1"/>
    <dgm:cxn modelId="{EB069941-2D00-45B9-B2A3-077D92384D25}" type="presParOf" srcId="{0A1940D5-1646-4B05-B1CA-3F67E4F36396}" destId="{3A582F42-4A15-494D-AADF-6D4AA869C29E}" srcOrd="2" destOrd="0" presId="urn:microsoft.com/office/officeart/2005/8/layout/list1"/>
    <dgm:cxn modelId="{02D87B59-9648-4E8D-BCA3-746DD661AB20}" type="presParOf" srcId="{0A1940D5-1646-4B05-B1CA-3F67E4F36396}" destId="{4DF083FE-6216-4FB1-8646-AB49503F5D81}" srcOrd="3" destOrd="0" presId="urn:microsoft.com/office/officeart/2005/8/layout/list1"/>
    <dgm:cxn modelId="{AB7FF624-33DA-4ABF-9F60-B003E509E09B}" type="presParOf" srcId="{0A1940D5-1646-4B05-B1CA-3F67E4F36396}" destId="{88F0E4C6-1C36-4925-B924-78AE858F172E}" srcOrd="4" destOrd="0" presId="urn:microsoft.com/office/officeart/2005/8/layout/list1"/>
    <dgm:cxn modelId="{1C5E8A14-DD69-4A1D-A035-64EB944436F5}" type="presParOf" srcId="{88F0E4C6-1C36-4925-B924-78AE858F172E}" destId="{D76B542D-E86D-4B34-A21E-211A27F5630D}" srcOrd="0" destOrd="0" presId="urn:microsoft.com/office/officeart/2005/8/layout/list1"/>
    <dgm:cxn modelId="{D26497B6-5ABD-49AC-B9C9-50166F55D58A}" type="presParOf" srcId="{88F0E4C6-1C36-4925-B924-78AE858F172E}" destId="{2B9A0112-FD7B-4ECE-B98D-453F7E41BADE}" srcOrd="1" destOrd="0" presId="urn:microsoft.com/office/officeart/2005/8/layout/list1"/>
    <dgm:cxn modelId="{1C05D17B-B2D1-4F8A-A1FA-2F2933FB5744}" type="presParOf" srcId="{0A1940D5-1646-4B05-B1CA-3F67E4F36396}" destId="{8DAE3618-5641-46D3-8A4C-6769E6A115FD}" srcOrd="5" destOrd="0" presId="urn:microsoft.com/office/officeart/2005/8/layout/list1"/>
    <dgm:cxn modelId="{DAC523B1-1809-42C2-8C97-408B7A069160}" type="presParOf" srcId="{0A1940D5-1646-4B05-B1CA-3F67E4F36396}" destId="{4B71DA79-D508-42C4-9830-8608F21B72F9}" srcOrd="6" destOrd="0" presId="urn:microsoft.com/office/officeart/2005/8/layout/list1"/>
    <dgm:cxn modelId="{00E8C0F0-D3C7-4C73-B508-F5745C351D7F}" type="presParOf" srcId="{0A1940D5-1646-4B05-B1CA-3F67E4F36396}" destId="{BEB1F390-E5E5-46EB-B34D-192265CB163E}" srcOrd="7" destOrd="0" presId="urn:microsoft.com/office/officeart/2005/8/layout/list1"/>
    <dgm:cxn modelId="{29A4E4A4-D689-4900-B636-826228AE08F7}" type="presParOf" srcId="{0A1940D5-1646-4B05-B1CA-3F67E4F36396}" destId="{9517C43C-EC56-4F55-B5EC-345E72859818}" srcOrd="8" destOrd="0" presId="urn:microsoft.com/office/officeart/2005/8/layout/list1"/>
    <dgm:cxn modelId="{714828A5-3644-4025-A6C2-5C55AE84EE71}" type="presParOf" srcId="{9517C43C-EC56-4F55-B5EC-345E72859818}" destId="{1DCFC9B2-9EFE-4074-82E8-94E95D9E9100}" srcOrd="0" destOrd="0" presId="urn:microsoft.com/office/officeart/2005/8/layout/list1"/>
    <dgm:cxn modelId="{518FB795-394C-4428-ABFB-B4DB38A570E8}" type="presParOf" srcId="{9517C43C-EC56-4F55-B5EC-345E72859818}" destId="{33CD39AF-610D-498C-8900-E34E34702411}" srcOrd="1" destOrd="0" presId="urn:microsoft.com/office/officeart/2005/8/layout/list1"/>
    <dgm:cxn modelId="{12763E02-137E-4E32-A53F-56AEDD4E268D}" type="presParOf" srcId="{0A1940D5-1646-4B05-B1CA-3F67E4F36396}" destId="{F488948D-E09F-4BA4-B46F-D4DE13992151}" srcOrd="9" destOrd="0" presId="urn:microsoft.com/office/officeart/2005/8/layout/list1"/>
    <dgm:cxn modelId="{5C3E6149-0598-4861-B55A-54E9DD5735E9}" type="presParOf" srcId="{0A1940D5-1646-4B05-B1CA-3F67E4F36396}" destId="{53EB327E-DBC1-4872-8FB6-9629AFB20436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582F42-4A15-494D-AADF-6D4AA869C29E}">
      <dsp:nvSpPr>
        <dsp:cNvPr id="0" name=""/>
        <dsp:cNvSpPr/>
      </dsp:nvSpPr>
      <dsp:spPr>
        <a:xfrm>
          <a:off x="0" y="796999"/>
          <a:ext cx="6666833" cy="1398600"/>
        </a:xfrm>
        <a:prstGeom prst="rect">
          <a:avLst/>
        </a:prstGeom>
        <a:noFill/>
        <a:ln w="9525" cap="flat" cmpd="sng" algn="ctr">
          <a:solidFill>
            <a:schemeClr val="accent1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7420" tIns="249936" rIns="517420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Why ESSER is Unique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ESSER Monitoring Goals</a:t>
          </a:r>
          <a:endParaRPr lang="en-US" sz="1200" b="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lrTx/>
            <a:buSzTx/>
            <a:buFont typeface="Arial" panose="020B0604020202020204" pitchFamily="34" charset="0"/>
            <a:buChar char="•"/>
          </a:pPr>
          <a:r>
            <a: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We’re Your Monitors, Not Your Auditors</a:t>
          </a:r>
          <a:endParaRPr lang="en-US" sz="1200" b="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Feedback Received From LEAs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rogress of Monitoring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0" y="796999"/>
        <a:ext cx="6666833" cy="1398600"/>
      </dsp:txXfrm>
    </dsp:sp>
    <dsp:sp modelId="{955D8A26-C560-447A-9A9A-E8135005B4ED}">
      <dsp:nvSpPr>
        <dsp:cNvPr id="0" name=""/>
        <dsp:cNvSpPr/>
      </dsp:nvSpPr>
      <dsp:spPr>
        <a:xfrm>
          <a:off x="333341" y="619879"/>
          <a:ext cx="4666783" cy="354240"/>
        </a:xfrm>
        <a:prstGeom prst="roundRect">
          <a:avLst/>
        </a:prstGeom>
        <a:solidFill>
          <a:srgbClr val="64A0C4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6393" tIns="0" rIns="176393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ESSER Monitoring: Your Friendly Neighborhood Monitor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350634" y="637172"/>
        <a:ext cx="4632197" cy="319654"/>
      </dsp:txXfrm>
    </dsp:sp>
    <dsp:sp modelId="{4B71DA79-D508-42C4-9830-8608F21B72F9}">
      <dsp:nvSpPr>
        <dsp:cNvPr id="0" name=""/>
        <dsp:cNvSpPr/>
      </dsp:nvSpPr>
      <dsp:spPr>
        <a:xfrm>
          <a:off x="0" y="2437519"/>
          <a:ext cx="6666833" cy="963900"/>
        </a:xfrm>
        <a:prstGeom prst="rect">
          <a:avLst/>
        </a:prstGeom>
        <a:noFill/>
        <a:ln w="9525" cap="flat" cmpd="sng" algn="ctr">
          <a:solidFill>
            <a:schemeClr val="accent1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7420" tIns="249936" rIns="517420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ading Practices: What Successful LEAs Are Doing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Recordkeeping: Keep It Where You Can Retrieve It….Quickly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olicies and Procedures: Practice What You Preach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0" y="2437519"/>
        <a:ext cx="6666833" cy="963900"/>
      </dsp:txXfrm>
    </dsp:sp>
    <dsp:sp modelId="{2B9A0112-FD7B-4ECE-B98D-453F7E41BADE}">
      <dsp:nvSpPr>
        <dsp:cNvPr id="0" name=""/>
        <dsp:cNvSpPr/>
      </dsp:nvSpPr>
      <dsp:spPr>
        <a:xfrm>
          <a:off x="333341" y="2260400"/>
          <a:ext cx="4666783" cy="354240"/>
        </a:xfrm>
        <a:prstGeom prst="roundRect">
          <a:avLst/>
        </a:prstGeom>
        <a:solidFill>
          <a:srgbClr val="64A0C4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6393" tIns="0" rIns="176393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ading Practices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350634" y="2277693"/>
        <a:ext cx="4632197" cy="319654"/>
      </dsp:txXfrm>
    </dsp:sp>
    <dsp:sp modelId="{53EB327E-DBC1-4872-8FB6-9629AFB20436}">
      <dsp:nvSpPr>
        <dsp:cNvPr id="0" name=""/>
        <dsp:cNvSpPr/>
      </dsp:nvSpPr>
      <dsp:spPr>
        <a:xfrm>
          <a:off x="0" y="3643340"/>
          <a:ext cx="6666833" cy="1190700"/>
        </a:xfrm>
        <a:prstGeom prst="rect">
          <a:avLst/>
        </a:prstGeom>
        <a:noFill/>
        <a:ln w="9525" cap="flat" cmpd="sng" algn="ctr">
          <a:solidFill>
            <a:schemeClr val="accent1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7420" tIns="249936" rIns="517420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omplete Files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earnings from Monitoring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Single Audit Completion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Final Reporting</a:t>
          </a:r>
        </a:p>
      </dsp:txBody>
      <dsp:txXfrm>
        <a:off x="0" y="3643340"/>
        <a:ext cx="6666833" cy="1190700"/>
      </dsp:txXfrm>
    </dsp:sp>
    <dsp:sp modelId="{33CD39AF-610D-498C-8900-E34E34702411}">
      <dsp:nvSpPr>
        <dsp:cNvPr id="0" name=""/>
        <dsp:cNvSpPr/>
      </dsp:nvSpPr>
      <dsp:spPr>
        <a:xfrm>
          <a:off x="333341" y="3466220"/>
          <a:ext cx="4666783" cy="354240"/>
        </a:xfrm>
        <a:prstGeom prst="roundRect">
          <a:avLst/>
        </a:prstGeom>
        <a:solidFill>
          <a:srgbClr val="64A0C4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6393" tIns="0" rIns="176393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Preparing for Closeout</a:t>
          </a:r>
          <a:endParaRPr lang="en-US" sz="1200" kern="1200" dirty="0">
            <a:solidFill>
              <a:schemeClr val="tx1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350634" y="3483513"/>
        <a:ext cx="4632197" cy="3196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D35F20-FE76-4809-BCCA-B33806F6B5C5}" type="datetimeFigureOut">
              <a:rPr lang="en-US" smtClean="0"/>
              <a:t>5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1778ED-C57D-405B-8B8E-D6FE63288A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8286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4277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2808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9E439-0A36-4389-B1D4-036D35E9F4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94626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21918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3627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6669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58788" y="720725"/>
            <a:ext cx="63976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58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z="900" dirty="0"/>
          </a:p>
        </p:txBody>
      </p:sp>
      <p:sp>
        <p:nvSpPr>
          <p:cNvPr id="8458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559B68C-5915-4D23-A2C6-5B96549FD7A0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62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7987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9921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6962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5575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7426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19E439-0A36-4389-B1D4-036D35E9F4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59697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91593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1778ED-C57D-405B-8B8E-D6FE63288A6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2387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8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8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8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8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8.emf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4" Type="http://schemas.openxmlformats.org/officeDocument/2006/relationships/image" Target="../media/image8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8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4" Type="http://schemas.openxmlformats.org/officeDocument/2006/relationships/image" Target="../media/image8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8.emf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50" y="247650"/>
            <a:ext cx="981075" cy="981075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63651" y="347160"/>
            <a:ext cx="3893185" cy="8445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444501" y="5472146"/>
            <a:ext cx="4003675" cy="1104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79230" y="6523642"/>
            <a:ext cx="19939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80"/>
              </a:lnSpc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346E6AFE-59FA-4B01-959F-CB665FBBB3A3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3 PAFPC Conference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3646A2E8-8910-4FCD-809D-CE99C72793C3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DE ESSER Monitor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EB4C06-4C7B-4BF8-8D31-768BB7C7AF33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21252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3914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6424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7251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689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19203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54434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63245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39342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284539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79230" y="6523642"/>
            <a:ext cx="19939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80"/>
              </a:lnSpc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25067" y="647700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9900" y="6477000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</a:rPr>
            </a:br>
            <a:r>
              <a:rPr lang="en-US" sz="650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33332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5498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763157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443505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419431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283824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652043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36656"/>
            <a:ext cx="11252200" cy="394613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84868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5495821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835292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55606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44422" y="1536786"/>
            <a:ext cx="3658235" cy="3898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rgbClr val="0076A8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444520" y="6519031"/>
            <a:ext cx="167132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80"/>
              </a:lnSpc>
            </a:pPr>
            <a:r>
              <a:t>Pennsylvania</a:t>
            </a:r>
            <a:r>
              <a:rPr spc="55"/>
              <a:t> </a:t>
            </a:r>
            <a:r>
              <a:t>Department of</a:t>
            </a:r>
            <a:r>
              <a:rPr spc="50"/>
              <a:t> </a:t>
            </a:r>
            <a:r>
              <a:rPr spc="-10"/>
              <a:t>Education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10180108" y="6523642"/>
            <a:ext cx="1067434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80"/>
              </a:lnSpc>
            </a:pPr>
            <a:r>
              <a:t>Subrecipient</a:t>
            </a:r>
            <a:r>
              <a:rPr spc="190"/>
              <a:t> </a:t>
            </a:r>
            <a:r>
              <a:rPr spc="-10"/>
              <a:t>Monitoring</a:t>
            </a: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11579230" y="6523642"/>
            <a:ext cx="19939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80"/>
              </a:lnSpc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45974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41036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376463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502330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52056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477232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511451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024075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460014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2839859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444520" y="6519031"/>
            <a:ext cx="167132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80"/>
              </a:lnSpc>
            </a:pPr>
            <a:r>
              <a:t>Pennsylvania</a:t>
            </a:r>
            <a:r>
              <a:rPr spc="55"/>
              <a:t> </a:t>
            </a:r>
            <a:r>
              <a:t>Department of</a:t>
            </a:r>
            <a:r>
              <a:rPr spc="50"/>
              <a:t> </a:t>
            </a:r>
            <a:r>
              <a:rPr spc="-10"/>
              <a:t>Education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10180108" y="6523642"/>
            <a:ext cx="1067434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880"/>
              </a:lnSpc>
            </a:pPr>
            <a:r>
              <a:t>Subrecipient</a:t>
            </a:r>
            <a:r>
              <a:rPr spc="190"/>
              <a:t> </a:t>
            </a:r>
            <a:r>
              <a:rPr spc="-10"/>
              <a:t>Monitoring</a:t>
            </a: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11579230" y="6523642"/>
            <a:ext cx="19939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80"/>
              </a:lnSpc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7625808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5398772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459346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335184" y="6477001"/>
            <a:ext cx="4896560" cy="2668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67" noProof="0">
                <a:solidFill>
                  <a:schemeClr val="bg1"/>
                </a:solidFill>
              </a:rPr>
              <a:t>Presentation title</a:t>
            </a:r>
            <a:br>
              <a:rPr lang="en-US" sz="867" noProof="0">
                <a:solidFill>
                  <a:schemeClr val="bg1"/>
                </a:solidFill>
              </a:rPr>
            </a:br>
            <a:r>
              <a:rPr lang="en-US" sz="867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1653" y="6477000"/>
            <a:ext cx="5355167" cy="2668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867" noProof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867" noProof="0">
                <a:solidFill>
                  <a:schemeClr val="bg1"/>
                </a:solidFill>
              </a:rPr>
            </a:br>
            <a:r>
              <a:rPr lang="en-US" sz="867" noProof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382378" y="6477001"/>
            <a:ext cx="307975" cy="133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867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867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3515665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003998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2199896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262982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5" y="4102100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8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7" y="4102100"/>
            <a:ext cx="2319503" cy="1725448"/>
          </a:xfrm>
        </p:spPr>
        <p:txBody>
          <a:bodyPr anchor="ctr" anchorCtr="0"/>
          <a:lstStyle>
            <a:lvl1pPr algn="ctr">
              <a:defRPr sz="1200"/>
            </a:lvl1pPr>
          </a:lstStyle>
          <a:p>
            <a:r>
              <a:rPr lang="en-US" sz="1200" noProof="0"/>
              <a:t>Insert sponsorship mark here</a:t>
            </a:r>
            <a:endParaRPr lang="en-US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8" y="5935479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1267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61545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Divi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4B521E-45B1-4DF5-AF83-CF81FF72A0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0129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4B521E-45B1-4DF5-AF83-CF81FF72A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04A6D5B-C512-43F6-8853-D13870CA10B3}"/>
              </a:ext>
            </a:extLst>
          </p:cNvPr>
          <p:cNvCxnSpPr>
            <a:cxnSpLocks/>
          </p:cNvCxnSpPr>
          <p:nvPr userDrawn="1"/>
        </p:nvCxnSpPr>
        <p:spPr>
          <a:xfrm>
            <a:off x="8839199" y="4953000"/>
            <a:ext cx="338328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358A89B-C4A0-4BF6-A7C2-3F1B9632BFBB}"/>
              </a:ext>
            </a:extLst>
          </p:cNvPr>
          <p:cNvCxnSpPr>
            <a:cxnSpLocks/>
          </p:cNvCxnSpPr>
          <p:nvPr userDrawn="1"/>
        </p:nvCxnSpPr>
        <p:spPr>
          <a:xfrm flipV="1">
            <a:off x="-16857" y="4191000"/>
            <a:ext cx="8229600" cy="8099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D8A7A6F7-5F58-448E-ABB3-AECDCAC65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52500" y="1206500"/>
            <a:ext cx="5337175" cy="2257425"/>
          </a:xfrm>
        </p:spPr>
        <p:txBody>
          <a:bodyPr/>
          <a:lstStyle>
            <a:lvl1pPr marL="0" indent="0">
              <a:buNone/>
              <a:defRPr sz="6600">
                <a:latin typeface="+mj-lt"/>
              </a:defRPr>
            </a:lvl1pPr>
          </a:lstStyle>
          <a:p>
            <a:pPr lvl="0"/>
            <a:r>
              <a:rPr lang="en-US" sz="6600">
                <a:latin typeface="+mj-lt"/>
              </a:rPr>
              <a:t>Section Header</a:t>
            </a:r>
            <a:endParaRPr lang="en-US"/>
          </a:p>
        </p:txBody>
      </p:sp>
      <p:pic>
        <p:nvPicPr>
          <p:cNvPr id="57" name="Graphic 56" descr="Books with solid fill">
            <a:extLst>
              <a:ext uri="{FF2B5EF4-FFF2-40B4-BE49-F238E27FC236}">
                <a16:creationId xmlns:a16="http://schemas.microsoft.com/office/drawing/2014/main" id="{000A14D1-7CA6-42C9-AE72-1C7D9498696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53300" y="3752682"/>
            <a:ext cx="1752600" cy="1752600"/>
          </a:xfrm>
          <a:prstGeom prst="rect">
            <a:avLst/>
          </a:prstGeom>
        </p:spPr>
      </p:pic>
      <p:sp>
        <p:nvSpPr>
          <p:cNvPr id="7" name="CaseCode">
            <a:extLst>
              <a:ext uri="{FF2B5EF4-FFF2-40B4-BE49-F238E27FC236}">
                <a16:creationId xmlns:a16="http://schemas.microsoft.com/office/drawing/2014/main" id="{C8793BB1-1045-444D-AC09-26CE5E63D9DC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3 PAFPC Conference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FC88DF84-F899-4982-BC80-8A7BE9539138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DE ESSER Monitor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6DD5BA4-7B0D-4198-B7CA-D9CD2877BFE8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909062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A96709-DC00-4570-B140-895E15716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583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A96709-DC00-4570-B140-895E15716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538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8F5CB4A9-3C7F-4829-BD7E-C42F0517765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298162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6900" y="952500"/>
            <a:ext cx="2705100" cy="5410199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887075" y="590550"/>
            <a:ext cx="1304925" cy="1323975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10977562" y="681037"/>
            <a:ext cx="1143000" cy="1143000"/>
          </a:xfrm>
          <a:custGeom>
            <a:avLst/>
            <a:gdLst/>
            <a:ahLst/>
            <a:cxnLst/>
            <a:rect l="l" t="t" r="r" b="b"/>
            <a:pathLst>
              <a:path w="1143000" h="1143000">
                <a:moveTo>
                  <a:pt x="571500" y="0"/>
                </a:moveTo>
                <a:lnTo>
                  <a:pt x="524627" y="1894"/>
                </a:lnTo>
                <a:lnTo>
                  <a:pt x="478799" y="7479"/>
                </a:lnTo>
                <a:lnTo>
                  <a:pt x="434161" y="16609"/>
                </a:lnTo>
                <a:lnTo>
                  <a:pt x="390860" y="29135"/>
                </a:lnTo>
                <a:lnTo>
                  <a:pt x="349045" y="44910"/>
                </a:lnTo>
                <a:lnTo>
                  <a:pt x="308861" y="63789"/>
                </a:lnTo>
                <a:lnTo>
                  <a:pt x="270457" y="85623"/>
                </a:lnTo>
                <a:lnTo>
                  <a:pt x="233978" y="110265"/>
                </a:lnTo>
                <a:lnTo>
                  <a:pt x="199572" y="137569"/>
                </a:lnTo>
                <a:lnTo>
                  <a:pt x="167387" y="167387"/>
                </a:lnTo>
                <a:lnTo>
                  <a:pt x="137569" y="199572"/>
                </a:lnTo>
                <a:lnTo>
                  <a:pt x="110265" y="233978"/>
                </a:lnTo>
                <a:lnTo>
                  <a:pt x="85623" y="270457"/>
                </a:lnTo>
                <a:lnTo>
                  <a:pt x="63789" y="308861"/>
                </a:lnTo>
                <a:lnTo>
                  <a:pt x="44910" y="349045"/>
                </a:lnTo>
                <a:lnTo>
                  <a:pt x="29135" y="390860"/>
                </a:lnTo>
                <a:lnTo>
                  <a:pt x="16609" y="434161"/>
                </a:lnTo>
                <a:lnTo>
                  <a:pt x="7479" y="478799"/>
                </a:lnTo>
                <a:lnTo>
                  <a:pt x="1894" y="524627"/>
                </a:lnTo>
                <a:lnTo>
                  <a:pt x="0" y="571500"/>
                </a:lnTo>
                <a:lnTo>
                  <a:pt x="1894" y="618372"/>
                </a:lnTo>
                <a:lnTo>
                  <a:pt x="7479" y="664200"/>
                </a:lnTo>
                <a:lnTo>
                  <a:pt x="16609" y="708838"/>
                </a:lnTo>
                <a:lnTo>
                  <a:pt x="29135" y="752139"/>
                </a:lnTo>
                <a:lnTo>
                  <a:pt x="44910" y="793954"/>
                </a:lnTo>
                <a:lnTo>
                  <a:pt x="63789" y="834138"/>
                </a:lnTo>
                <a:lnTo>
                  <a:pt x="85623" y="872542"/>
                </a:lnTo>
                <a:lnTo>
                  <a:pt x="110265" y="909021"/>
                </a:lnTo>
                <a:lnTo>
                  <a:pt x="137569" y="943427"/>
                </a:lnTo>
                <a:lnTo>
                  <a:pt x="167387" y="975612"/>
                </a:lnTo>
                <a:lnTo>
                  <a:pt x="199572" y="1005430"/>
                </a:lnTo>
                <a:lnTo>
                  <a:pt x="233978" y="1032734"/>
                </a:lnTo>
                <a:lnTo>
                  <a:pt x="270457" y="1057376"/>
                </a:lnTo>
                <a:lnTo>
                  <a:pt x="308861" y="1079210"/>
                </a:lnTo>
                <a:lnTo>
                  <a:pt x="349045" y="1098089"/>
                </a:lnTo>
                <a:lnTo>
                  <a:pt x="390860" y="1113864"/>
                </a:lnTo>
                <a:lnTo>
                  <a:pt x="434161" y="1126390"/>
                </a:lnTo>
                <a:lnTo>
                  <a:pt x="478799" y="1135520"/>
                </a:lnTo>
                <a:lnTo>
                  <a:pt x="524627" y="1141105"/>
                </a:lnTo>
                <a:lnTo>
                  <a:pt x="571500" y="1143000"/>
                </a:lnTo>
                <a:lnTo>
                  <a:pt x="618372" y="1141105"/>
                </a:lnTo>
                <a:lnTo>
                  <a:pt x="664200" y="1135520"/>
                </a:lnTo>
                <a:lnTo>
                  <a:pt x="708838" y="1126390"/>
                </a:lnTo>
                <a:lnTo>
                  <a:pt x="752139" y="1113864"/>
                </a:lnTo>
                <a:lnTo>
                  <a:pt x="793954" y="1098089"/>
                </a:lnTo>
                <a:lnTo>
                  <a:pt x="834138" y="1079210"/>
                </a:lnTo>
                <a:lnTo>
                  <a:pt x="872542" y="1057376"/>
                </a:lnTo>
                <a:lnTo>
                  <a:pt x="909021" y="1032734"/>
                </a:lnTo>
                <a:lnTo>
                  <a:pt x="943427" y="1005430"/>
                </a:lnTo>
                <a:lnTo>
                  <a:pt x="975612" y="975612"/>
                </a:lnTo>
                <a:lnTo>
                  <a:pt x="1005430" y="943427"/>
                </a:lnTo>
                <a:lnTo>
                  <a:pt x="1032734" y="909021"/>
                </a:lnTo>
                <a:lnTo>
                  <a:pt x="1057376" y="872542"/>
                </a:lnTo>
                <a:lnTo>
                  <a:pt x="1079210" y="834138"/>
                </a:lnTo>
                <a:lnTo>
                  <a:pt x="1098089" y="793954"/>
                </a:lnTo>
                <a:lnTo>
                  <a:pt x="1113864" y="752139"/>
                </a:lnTo>
                <a:lnTo>
                  <a:pt x="1126390" y="708838"/>
                </a:lnTo>
                <a:lnTo>
                  <a:pt x="1135520" y="664200"/>
                </a:lnTo>
                <a:lnTo>
                  <a:pt x="1141105" y="618372"/>
                </a:lnTo>
                <a:lnTo>
                  <a:pt x="1143000" y="571500"/>
                </a:lnTo>
                <a:lnTo>
                  <a:pt x="1141105" y="524627"/>
                </a:lnTo>
                <a:lnTo>
                  <a:pt x="1135520" y="478799"/>
                </a:lnTo>
                <a:lnTo>
                  <a:pt x="1126390" y="434161"/>
                </a:lnTo>
                <a:lnTo>
                  <a:pt x="1113864" y="390860"/>
                </a:lnTo>
                <a:lnTo>
                  <a:pt x="1098089" y="349045"/>
                </a:lnTo>
                <a:lnTo>
                  <a:pt x="1079210" y="308861"/>
                </a:lnTo>
                <a:lnTo>
                  <a:pt x="1057376" y="270457"/>
                </a:lnTo>
                <a:lnTo>
                  <a:pt x="1032734" y="233978"/>
                </a:lnTo>
                <a:lnTo>
                  <a:pt x="1005430" y="199572"/>
                </a:lnTo>
                <a:lnTo>
                  <a:pt x="975612" y="167387"/>
                </a:lnTo>
                <a:lnTo>
                  <a:pt x="943427" y="137569"/>
                </a:lnTo>
                <a:lnTo>
                  <a:pt x="909021" y="110265"/>
                </a:lnTo>
                <a:lnTo>
                  <a:pt x="872542" y="85623"/>
                </a:lnTo>
                <a:lnTo>
                  <a:pt x="834138" y="63789"/>
                </a:lnTo>
                <a:lnTo>
                  <a:pt x="793954" y="44910"/>
                </a:lnTo>
                <a:lnTo>
                  <a:pt x="752139" y="29135"/>
                </a:lnTo>
                <a:lnTo>
                  <a:pt x="708838" y="16609"/>
                </a:lnTo>
                <a:lnTo>
                  <a:pt x="664200" y="7479"/>
                </a:lnTo>
                <a:lnTo>
                  <a:pt x="618372" y="1894"/>
                </a:lnTo>
                <a:lnTo>
                  <a:pt x="5715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10977562" y="681037"/>
            <a:ext cx="1143000" cy="1143000"/>
          </a:xfrm>
          <a:custGeom>
            <a:avLst/>
            <a:gdLst/>
            <a:ahLst/>
            <a:cxnLst/>
            <a:rect l="l" t="t" r="r" b="b"/>
            <a:pathLst>
              <a:path w="1143000" h="1143000">
                <a:moveTo>
                  <a:pt x="0" y="571500"/>
                </a:moveTo>
                <a:lnTo>
                  <a:pt x="1894" y="524627"/>
                </a:lnTo>
                <a:lnTo>
                  <a:pt x="7479" y="478799"/>
                </a:lnTo>
                <a:lnTo>
                  <a:pt x="16609" y="434161"/>
                </a:lnTo>
                <a:lnTo>
                  <a:pt x="29135" y="390860"/>
                </a:lnTo>
                <a:lnTo>
                  <a:pt x="44910" y="349045"/>
                </a:lnTo>
                <a:lnTo>
                  <a:pt x="63789" y="308861"/>
                </a:lnTo>
                <a:lnTo>
                  <a:pt x="85623" y="270457"/>
                </a:lnTo>
                <a:lnTo>
                  <a:pt x="110265" y="233978"/>
                </a:lnTo>
                <a:lnTo>
                  <a:pt x="137569" y="199572"/>
                </a:lnTo>
                <a:lnTo>
                  <a:pt x="167387" y="167387"/>
                </a:lnTo>
                <a:lnTo>
                  <a:pt x="199572" y="137569"/>
                </a:lnTo>
                <a:lnTo>
                  <a:pt x="233978" y="110265"/>
                </a:lnTo>
                <a:lnTo>
                  <a:pt x="270457" y="85623"/>
                </a:lnTo>
                <a:lnTo>
                  <a:pt x="308861" y="63789"/>
                </a:lnTo>
                <a:lnTo>
                  <a:pt x="349045" y="44910"/>
                </a:lnTo>
                <a:lnTo>
                  <a:pt x="390860" y="29135"/>
                </a:lnTo>
                <a:lnTo>
                  <a:pt x="434161" y="16609"/>
                </a:lnTo>
                <a:lnTo>
                  <a:pt x="478799" y="7479"/>
                </a:lnTo>
                <a:lnTo>
                  <a:pt x="524627" y="1894"/>
                </a:lnTo>
                <a:lnTo>
                  <a:pt x="571500" y="0"/>
                </a:lnTo>
                <a:lnTo>
                  <a:pt x="618372" y="1894"/>
                </a:lnTo>
                <a:lnTo>
                  <a:pt x="664200" y="7479"/>
                </a:lnTo>
                <a:lnTo>
                  <a:pt x="708838" y="16609"/>
                </a:lnTo>
                <a:lnTo>
                  <a:pt x="752139" y="29135"/>
                </a:lnTo>
                <a:lnTo>
                  <a:pt x="793954" y="44910"/>
                </a:lnTo>
                <a:lnTo>
                  <a:pt x="834138" y="63789"/>
                </a:lnTo>
                <a:lnTo>
                  <a:pt x="872542" y="85623"/>
                </a:lnTo>
                <a:lnTo>
                  <a:pt x="909021" y="110265"/>
                </a:lnTo>
                <a:lnTo>
                  <a:pt x="943427" y="137569"/>
                </a:lnTo>
                <a:lnTo>
                  <a:pt x="975612" y="167387"/>
                </a:lnTo>
                <a:lnTo>
                  <a:pt x="1005430" y="199572"/>
                </a:lnTo>
                <a:lnTo>
                  <a:pt x="1032734" y="233978"/>
                </a:lnTo>
                <a:lnTo>
                  <a:pt x="1057376" y="270457"/>
                </a:lnTo>
                <a:lnTo>
                  <a:pt x="1079210" y="308861"/>
                </a:lnTo>
                <a:lnTo>
                  <a:pt x="1098089" y="349045"/>
                </a:lnTo>
                <a:lnTo>
                  <a:pt x="1113864" y="390860"/>
                </a:lnTo>
                <a:lnTo>
                  <a:pt x="1126390" y="434161"/>
                </a:lnTo>
                <a:lnTo>
                  <a:pt x="1135520" y="478799"/>
                </a:lnTo>
                <a:lnTo>
                  <a:pt x="1141105" y="524627"/>
                </a:lnTo>
                <a:lnTo>
                  <a:pt x="1143000" y="571500"/>
                </a:lnTo>
                <a:lnTo>
                  <a:pt x="1141105" y="618372"/>
                </a:lnTo>
                <a:lnTo>
                  <a:pt x="1135520" y="664200"/>
                </a:lnTo>
                <a:lnTo>
                  <a:pt x="1126390" y="708838"/>
                </a:lnTo>
                <a:lnTo>
                  <a:pt x="1113864" y="752139"/>
                </a:lnTo>
                <a:lnTo>
                  <a:pt x="1098089" y="793954"/>
                </a:lnTo>
                <a:lnTo>
                  <a:pt x="1079210" y="834138"/>
                </a:lnTo>
                <a:lnTo>
                  <a:pt x="1057376" y="872542"/>
                </a:lnTo>
                <a:lnTo>
                  <a:pt x="1032734" y="909021"/>
                </a:lnTo>
                <a:lnTo>
                  <a:pt x="1005430" y="943427"/>
                </a:lnTo>
                <a:lnTo>
                  <a:pt x="975612" y="975612"/>
                </a:lnTo>
                <a:lnTo>
                  <a:pt x="943427" y="1005430"/>
                </a:lnTo>
                <a:lnTo>
                  <a:pt x="909021" y="1032734"/>
                </a:lnTo>
                <a:lnTo>
                  <a:pt x="872542" y="1057376"/>
                </a:lnTo>
                <a:lnTo>
                  <a:pt x="834138" y="1079210"/>
                </a:lnTo>
                <a:lnTo>
                  <a:pt x="793954" y="1098089"/>
                </a:lnTo>
                <a:lnTo>
                  <a:pt x="752139" y="1113864"/>
                </a:lnTo>
                <a:lnTo>
                  <a:pt x="708838" y="1126390"/>
                </a:lnTo>
                <a:lnTo>
                  <a:pt x="664200" y="1135520"/>
                </a:lnTo>
                <a:lnTo>
                  <a:pt x="618372" y="1141105"/>
                </a:lnTo>
                <a:lnTo>
                  <a:pt x="571500" y="1143000"/>
                </a:lnTo>
                <a:lnTo>
                  <a:pt x="524627" y="1141105"/>
                </a:lnTo>
                <a:lnTo>
                  <a:pt x="478799" y="1135520"/>
                </a:lnTo>
                <a:lnTo>
                  <a:pt x="434161" y="1126390"/>
                </a:lnTo>
                <a:lnTo>
                  <a:pt x="390860" y="1113864"/>
                </a:lnTo>
                <a:lnTo>
                  <a:pt x="349045" y="1098089"/>
                </a:lnTo>
                <a:lnTo>
                  <a:pt x="308861" y="1079210"/>
                </a:lnTo>
                <a:lnTo>
                  <a:pt x="270457" y="1057376"/>
                </a:lnTo>
                <a:lnTo>
                  <a:pt x="233978" y="1032734"/>
                </a:lnTo>
                <a:lnTo>
                  <a:pt x="199572" y="1005430"/>
                </a:lnTo>
                <a:lnTo>
                  <a:pt x="167387" y="975612"/>
                </a:lnTo>
                <a:lnTo>
                  <a:pt x="137569" y="943427"/>
                </a:lnTo>
                <a:lnTo>
                  <a:pt x="110265" y="909021"/>
                </a:lnTo>
                <a:lnTo>
                  <a:pt x="85623" y="872542"/>
                </a:lnTo>
                <a:lnTo>
                  <a:pt x="63789" y="834138"/>
                </a:lnTo>
                <a:lnTo>
                  <a:pt x="44910" y="793954"/>
                </a:lnTo>
                <a:lnTo>
                  <a:pt x="29135" y="752139"/>
                </a:lnTo>
                <a:lnTo>
                  <a:pt x="16609" y="708838"/>
                </a:lnTo>
                <a:lnTo>
                  <a:pt x="7479" y="664200"/>
                </a:lnTo>
                <a:lnTo>
                  <a:pt x="1894" y="618372"/>
                </a:lnTo>
                <a:lnTo>
                  <a:pt x="0" y="571500"/>
                </a:lnTo>
                <a:close/>
              </a:path>
            </a:pathLst>
          </a:custGeom>
          <a:ln w="6350">
            <a:solidFill>
              <a:srgbClr val="FFFFFF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1" name="bg object 2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9134475" y="2257425"/>
            <a:ext cx="1666875" cy="1657350"/>
          </a:xfrm>
          <a:prstGeom prst="rect">
            <a:avLst/>
          </a:prstGeom>
        </p:spPr>
      </p:pic>
      <p:sp>
        <p:nvSpPr>
          <p:cNvPr id="22" name="bg object 22"/>
          <p:cNvSpPr/>
          <p:nvPr/>
        </p:nvSpPr>
        <p:spPr>
          <a:xfrm>
            <a:off x="9229725" y="2352675"/>
            <a:ext cx="1476375" cy="1466850"/>
          </a:xfrm>
          <a:custGeom>
            <a:avLst/>
            <a:gdLst/>
            <a:ahLst/>
            <a:cxnLst/>
            <a:rect l="l" t="t" r="r" b="b"/>
            <a:pathLst>
              <a:path w="1476375" h="1466850">
                <a:moveTo>
                  <a:pt x="738187" y="0"/>
                </a:moveTo>
                <a:lnTo>
                  <a:pt x="689650" y="1560"/>
                </a:lnTo>
                <a:lnTo>
                  <a:pt x="641952" y="6175"/>
                </a:lnTo>
                <a:lnTo>
                  <a:pt x="595190" y="13750"/>
                </a:lnTo>
                <a:lnTo>
                  <a:pt x="549460" y="24187"/>
                </a:lnTo>
                <a:lnTo>
                  <a:pt x="504860" y="37391"/>
                </a:lnTo>
                <a:lnTo>
                  <a:pt x="461489" y="53263"/>
                </a:lnTo>
                <a:lnTo>
                  <a:pt x="419441" y="71707"/>
                </a:lnTo>
                <a:lnTo>
                  <a:pt x="378816" y="92628"/>
                </a:lnTo>
                <a:lnTo>
                  <a:pt x="339710" y="115927"/>
                </a:lnTo>
                <a:lnTo>
                  <a:pt x="302221" y="141510"/>
                </a:lnTo>
                <a:lnTo>
                  <a:pt x="266445" y="169278"/>
                </a:lnTo>
                <a:lnTo>
                  <a:pt x="232480" y="199135"/>
                </a:lnTo>
                <a:lnTo>
                  <a:pt x="200424" y="230985"/>
                </a:lnTo>
                <a:lnTo>
                  <a:pt x="170373" y="264731"/>
                </a:lnTo>
                <a:lnTo>
                  <a:pt x="142425" y="300276"/>
                </a:lnTo>
                <a:lnTo>
                  <a:pt x="116677" y="337523"/>
                </a:lnTo>
                <a:lnTo>
                  <a:pt x="93227" y="376377"/>
                </a:lnTo>
                <a:lnTo>
                  <a:pt x="72171" y="416740"/>
                </a:lnTo>
                <a:lnTo>
                  <a:pt x="53607" y="458516"/>
                </a:lnTo>
                <a:lnTo>
                  <a:pt x="37632" y="501608"/>
                </a:lnTo>
                <a:lnTo>
                  <a:pt x="24344" y="545919"/>
                </a:lnTo>
                <a:lnTo>
                  <a:pt x="13839" y="591353"/>
                </a:lnTo>
                <a:lnTo>
                  <a:pt x="6215" y="637813"/>
                </a:lnTo>
                <a:lnTo>
                  <a:pt x="1570" y="685202"/>
                </a:lnTo>
                <a:lnTo>
                  <a:pt x="0" y="733425"/>
                </a:lnTo>
                <a:lnTo>
                  <a:pt x="1570" y="781647"/>
                </a:lnTo>
                <a:lnTo>
                  <a:pt x="6215" y="829036"/>
                </a:lnTo>
                <a:lnTo>
                  <a:pt x="13839" y="875496"/>
                </a:lnTo>
                <a:lnTo>
                  <a:pt x="24344" y="920930"/>
                </a:lnTo>
                <a:lnTo>
                  <a:pt x="37632" y="965241"/>
                </a:lnTo>
                <a:lnTo>
                  <a:pt x="53607" y="1008333"/>
                </a:lnTo>
                <a:lnTo>
                  <a:pt x="72171" y="1050109"/>
                </a:lnTo>
                <a:lnTo>
                  <a:pt x="93227" y="1090472"/>
                </a:lnTo>
                <a:lnTo>
                  <a:pt x="116677" y="1129326"/>
                </a:lnTo>
                <a:lnTo>
                  <a:pt x="142425" y="1166573"/>
                </a:lnTo>
                <a:lnTo>
                  <a:pt x="170373" y="1202118"/>
                </a:lnTo>
                <a:lnTo>
                  <a:pt x="200424" y="1235864"/>
                </a:lnTo>
                <a:lnTo>
                  <a:pt x="232480" y="1267714"/>
                </a:lnTo>
                <a:lnTo>
                  <a:pt x="266445" y="1297571"/>
                </a:lnTo>
                <a:lnTo>
                  <a:pt x="302221" y="1325339"/>
                </a:lnTo>
                <a:lnTo>
                  <a:pt x="339710" y="1350922"/>
                </a:lnTo>
                <a:lnTo>
                  <a:pt x="378816" y="1374221"/>
                </a:lnTo>
                <a:lnTo>
                  <a:pt x="419441" y="1395142"/>
                </a:lnTo>
                <a:lnTo>
                  <a:pt x="461489" y="1413586"/>
                </a:lnTo>
                <a:lnTo>
                  <a:pt x="504860" y="1429458"/>
                </a:lnTo>
                <a:lnTo>
                  <a:pt x="549460" y="1442662"/>
                </a:lnTo>
                <a:lnTo>
                  <a:pt x="595190" y="1453099"/>
                </a:lnTo>
                <a:lnTo>
                  <a:pt x="641952" y="1460674"/>
                </a:lnTo>
                <a:lnTo>
                  <a:pt x="689650" y="1465289"/>
                </a:lnTo>
                <a:lnTo>
                  <a:pt x="738187" y="1466850"/>
                </a:lnTo>
                <a:lnTo>
                  <a:pt x="786724" y="1465289"/>
                </a:lnTo>
                <a:lnTo>
                  <a:pt x="834422" y="1460674"/>
                </a:lnTo>
                <a:lnTo>
                  <a:pt x="881184" y="1453099"/>
                </a:lnTo>
                <a:lnTo>
                  <a:pt x="926914" y="1442662"/>
                </a:lnTo>
                <a:lnTo>
                  <a:pt x="971514" y="1429458"/>
                </a:lnTo>
                <a:lnTo>
                  <a:pt x="1014885" y="1413586"/>
                </a:lnTo>
                <a:lnTo>
                  <a:pt x="1056933" y="1395142"/>
                </a:lnTo>
                <a:lnTo>
                  <a:pt x="1097558" y="1374221"/>
                </a:lnTo>
                <a:lnTo>
                  <a:pt x="1136664" y="1350922"/>
                </a:lnTo>
                <a:lnTo>
                  <a:pt x="1174153" y="1325339"/>
                </a:lnTo>
                <a:lnTo>
                  <a:pt x="1209929" y="1297571"/>
                </a:lnTo>
                <a:lnTo>
                  <a:pt x="1243894" y="1267714"/>
                </a:lnTo>
                <a:lnTo>
                  <a:pt x="1275950" y="1235864"/>
                </a:lnTo>
                <a:lnTo>
                  <a:pt x="1306001" y="1202118"/>
                </a:lnTo>
                <a:lnTo>
                  <a:pt x="1333949" y="1166573"/>
                </a:lnTo>
                <a:lnTo>
                  <a:pt x="1359697" y="1129326"/>
                </a:lnTo>
                <a:lnTo>
                  <a:pt x="1383147" y="1090472"/>
                </a:lnTo>
                <a:lnTo>
                  <a:pt x="1404203" y="1050109"/>
                </a:lnTo>
                <a:lnTo>
                  <a:pt x="1422767" y="1008333"/>
                </a:lnTo>
                <a:lnTo>
                  <a:pt x="1438742" y="965241"/>
                </a:lnTo>
                <a:lnTo>
                  <a:pt x="1452030" y="920930"/>
                </a:lnTo>
                <a:lnTo>
                  <a:pt x="1462535" y="875496"/>
                </a:lnTo>
                <a:lnTo>
                  <a:pt x="1470159" y="829036"/>
                </a:lnTo>
                <a:lnTo>
                  <a:pt x="1474804" y="781647"/>
                </a:lnTo>
                <a:lnTo>
                  <a:pt x="1476375" y="733425"/>
                </a:lnTo>
                <a:lnTo>
                  <a:pt x="1474804" y="685202"/>
                </a:lnTo>
                <a:lnTo>
                  <a:pt x="1470159" y="637813"/>
                </a:lnTo>
                <a:lnTo>
                  <a:pt x="1462535" y="591353"/>
                </a:lnTo>
                <a:lnTo>
                  <a:pt x="1452030" y="545919"/>
                </a:lnTo>
                <a:lnTo>
                  <a:pt x="1438742" y="501608"/>
                </a:lnTo>
                <a:lnTo>
                  <a:pt x="1422767" y="458516"/>
                </a:lnTo>
                <a:lnTo>
                  <a:pt x="1404203" y="416740"/>
                </a:lnTo>
                <a:lnTo>
                  <a:pt x="1383147" y="376377"/>
                </a:lnTo>
                <a:lnTo>
                  <a:pt x="1359697" y="337523"/>
                </a:lnTo>
                <a:lnTo>
                  <a:pt x="1333949" y="300276"/>
                </a:lnTo>
                <a:lnTo>
                  <a:pt x="1306001" y="264731"/>
                </a:lnTo>
                <a:lnTo>
                  <a:pt x="1275950" y="230985"/>
                </a:lnTo>
                <a:lnTo>
                  <a:pt x="1243894" y="199135"/>
                </a:lnTo>
                <a:lnTo>
                  <a:pt x="1209929" y="169278"/>
                </a:lnTo>
                <a:lnTo>
                  <a:pt x="1174153" y="141510"/>
                </a:lnTo>
                <a:lnTo>
                  <a:pt x="1136664" y="115927"/>
                </a:lnTo>
                <a:lnTo>
                  <a:pt x="1097558" y="92628"/>
                </a:lnTo>
                <a:lnTo>
                  <a:pt x="1056933" y="71707"/>
                </a:lnTo>
                <a:lnTo>
                  <a:pt x="1014885" y="53263"/>
                </a:lnTo>
                <a:lnTo>
                  <a:pt x="971514" y="37391"/>
                </a:lnTo>
                <a:lnTo>
                  <a:pt x="926914" y="24187"/>
                </a:lnTo>
                <a:lnTo>
                  <a:pt x="881184" y="13750"/>
                </a:lnTo>
                <a:lnTo>
                  <a:pt x="834422" y="6175"/>
                </a:lnTo>
                <a:lnTo>
                  <a:pt x="786724" y="1560"/>
                </a:lnTo>
                <a:lnTo>
                  <a:pt x="73818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3" name="bg object 23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0287000" y="1552575"/>
            <a:ext cx="1781175" cy="1819275"/>
          </a:xfrm>
          <a:prstGeom prst="rect">
            <a:avLst/>
          </a:prstGeom>
        </p:spPr>
      </p:pic>
      <p:sp>
        <p:nvSpPr>
          <p:cNvPr id="24" name="bg object 24"/>
          <p:cNvSpPr/>
          <p:nvPr/>
        </p:nvSpPr>
        <p:spPr>
          <a:xfrm>
            <a:off x="10382250" y="1647825"/>
            <a:ext cx="1590675" cy="1628775"/>
          </a:xfrm>
          <a:custGeom>
            <a:avLst/>
            <a:gdLst/>
            <a:ahLst/>
            <a:cxnLst/>
            <a:rect l="l" t="t" r="r" b="b"/>
            <a:pathLst>
              <a:path w="1590675" h="1628775">
                <a:moveTo>
                  <a:pt x="795337" y="0"/>
                </a:moveTo>
                <a:lnTo>
                  <a:pt x="748605" y="1382"/>
                </a:lnTo>
                <a:lnTo>
                  <a:pt x="702583" y="5479"/>
                </a:lnTo>
                <a:lnTo>
                  <a:pt x="657348" y="12213"/>
                </a:lnTo>
                <a:lnTo>
                  <a:pt x="612973" y="21508"/>
                </a:lnTo>
                <a:lnTo>
                  <a:pt x="569532" y="33289"/>
                </a:lnTo>
                <a:lnTo>
                  <a:pt x="527102" y="47478"/>
                </a:lnTo>
                <a:lnTo>
                  <a:pt x="485755" y="63999"/>
                </a:lnTo>
                <a:lnTo>
                  <a:pt x="445567" y="82775"/>
                </a:lnTo>
                <a:lnTo>
                  <a:pt x="406612" y="103732"/>
                </a:lnTo>
                <a:lnTo>
                  <a:pt x="368965" y="126791"/>
                </a:lnTo>
                <a:lnTo>
                  <a:pt x="332701" y="151876"/>
                </a:lnTo>
                <a:lnTo>
                  <a:pt x="297893" y="178912"/>
                </a:lnTo>
                <a:lnTo>
                  <a:pt x="264617" y="207822"/>
                </a:lnTo>
                <a:lnTo>
                  <a:pt x="232948" y="238529"/>
                </a:lnTo>
                <a:lnTo>
                  <a:pt x="202959" y="270958"/>
                </a:lnTo>
                <a:lnTo>
                  <a:pt x="174726" y="305031"/>
                </a:lnTo>
                <a:lnTo>
                  <a:pt x="148322" y="340672"/>
                </a:lnTo>
                <a:lnTo>
                  <a:pt x="123823" y="377805"/>
                </a:lnTo>
                <a:lnTo>
                  <a:pt x="101304" y="416354"/>
                </a:lnTo>
                <a:lnTo>
                  <a:pt x="80838" y="456241"/>
                </a:lnTo>
                <a:lnTo>
                  <a:pt x="62501" y="497392"/>
                </a:lnTo>
                <a:lnTo>
                  <a:pt x="46366" y="539729"/>
                </a:lnTo>
                <a:lnTo>
                  <a:pt x="32510" y="583176"/>
                </a:lnTo>
                <a:lnTo>
                  <a:pt x="21005" y="627656"/>
                </a:lnTo>
                <a:lnTo>
                  <a:pt x="11927" y="673094"/>
                </a:lnTo>
                <a:lnTo>
                  <a:pt x="5350" y="719413"/>
                </a:lnTo>
                <a:lnTo>
                  <a:pt x="1350" y="766536"/>
                </a:lnTo>
                <a:lnTo>
                  <a:pt x="0" y="814387"/>
                </a:lnTo>
                <a:lnTo>
                  <a:pt x="1350" y="862238"/>
                </a:lnTo>
                <a:lnTo>
                  <a:pt x="5350" y="909361"/>
                </a:lnTo>
                <a:lnTo>
                  <a:pt x="11927" y="955680"/>
                </a:lnTo>
                <a:lnTo>
                  <a:pt x="21005" y="1001118"/>
                </a:lnTo>
                <a:lnTo>
                  <a:pt x="32510" y="1045598"/>
                </a:lnTo>
                <a:lnTo>
                  <a:pt x="46366" y="1089045"/>
                </a:lnTo>
                <a:lnTo>
                  <a:pt x="62501" y="1131382"/>
                </a:lnTo>
                <a:lnTo>
                  <a:pt x="80838" y="1172533"/>
                </a:lnTo>
                <a:lnTo>
                  <a:pt x="101304" y="1212420"/>
                </a:lnTo>
                <a:lnTo>
                  <a:pt x="123823" y="1250969"/>
                </a:lnTo>
                <a:lnTo>
                  <a:pt x="148322" y="1288102"/>
                </a:lnTo>
                <a:lnTo>
                  <a:pt x="174726" y="1323743"/>
                </a:lnTo>
                <a:lnTo>
                  <a:pt x="202959" y="1357816"/>
                </a:lnTo>
                <a:lnTo>
                  <a:pt x="232948" y="1390245"/>
                </a:lnTo>
                <a:lnTo>
                  <a:pt x="264617" y="1420952"/>
                </a:lnTo>
                <a:lnTo>
                  <a:pt x="297893" y="1449862"/>
                </a:lnTo>
                <a:lnTo>
                  <a:pt x="332701" y="1476898"/>
                </a:lnTo>
                <a:lnTo>
                  <a:pt x="368965" y="1501983"/>
                </a:lnTo>
                <a:lnTo>
                  <a:pt x="406612" y="1525042"/>
                </a:lnTo>
                <a:lnTo>
                  <a:pt x="445567" y="1545999"/>
                </a:lnTo>
                <a:lnTo>
                  <a:pt x="485755" y="1564775"/>
                </a:lnTo>
                <a:lnTo>
                  <a:pt x="527102" y="1581296"/>
                </a:lnTo>
                <a:lnTo>
                  <a:pt x="569532" y="1595485"/>
                </a:lnTo>
                <a:lnTo>
                  <a:pt x="612973" y="1607266"/>
                </a:lnTo>
                <a:lnTo>
                  <a:pt x="657348" y="1616561"/>
                </a:lnTo>
                <a:lnTo>
                  <a:pt x="702583" y="1623295"/>
                </a:lnTo>
                <a:lnTo>
                  <a:pt x="748605" y="1627392"/>
                </a:lnTo>
                <a:lnTo>
                  <a:pt x="795337" y="1628775"/>
                </a:lnTo>
                <a:lnTo>
                  <a:pt x="842069" y="1627392"/>
                </a:lnTo>
                <a:lnTo>
                  <a:pt x="888091" y="1623295"/>
                </a:lnTo>
                <a:lnTo>
                  <a:pt x="933326" y="1616561"/>
                </a:lnTo>
                <a:lnTo>
                  <a:pt x="977701" y="1607266"/>
                </a:lnTo>
                <a:lnTo>
                  <a:pt x="1021142" y="1595485"/>
                </a:lnTo>
                <a:lnTo>
                  <a:pt x="1063572" y="1581296"/>
                </a:lnTo>
                <a:lnTo>
                  <a:pt x="1104919" y="1564775"/>
                </a:lnTo>
                <a:lnTo>
                  <a:pt x="1145107" y="1545999"/>
                </a:lnTo>
                <a:lnTo>
                  <a:pt x="1184062" y="1525042"/>
                </a:lnTo>
                <a:lnTo>
                  <a:pt x="1221709" y="1501983"/>
                </a:lnTo>
                <a:lnTo>
                  <a:pt x="1257973" y="1476898"/>
                </a:lnTo>
                <a:lnTo>
                  <a:pt x="1292781" y="1449862"/>
                </a:lnTo>
                <a:lnTo>
                  <a:pt x="1326057" y="1420952"/>
                </a:lnTo>
                <a:lnTo>
                  <a:pt x="1357726" y="1390245"/>
                </a:lnTo>
                <a:lnTo>
                  <a:pt x="1387715" y="1357816"/>
                </a:lnTo>
                <a:lnTo>
                  <a:pt x="1415948" y="1323743"/>
                </a:lnTo>
                <a:lnTo>
                  <a:pt x="1442352" y="1288102"/>
                </a:lnTo>
                <a:lnTo>
                  <a:pt x="1466851" y="1250969"/>
                </a:lnTo>
                <a:lnTo>
                  <a:pt x="1489370" y="1212420"/>
                </a:lnTo>
                <a:lnTo>
                  <a:pt x="1509836" y="1172533"/>
                </a:lnTo>
                <a:lnTo>
                  <a:pt x="1528173" y="1131382"/>
                </a:lnTo>
                <a:lnTo>
                  <a:pt x="1544308" y="1089045"/>
                </a:lnTo>
                <a:lnTo>
                  <a:pt x="1558164" y="1045598"/>
                </a:lnTo>
                <a:lnTo>
                  <a:pt x="1569669" y="1001118"/>
                </a:lnTo>
                <a:lnTo>
                  <a:pt x="1578747" y="955680"/>
                </a:lnTo>
                <a:lnTo>
                  <a:pt x="1585324" y="909361"/>
                </a:lnTo>
                <a:lnTo>
                  <a:pt x="1589324" y="862238"/>
                </a:lnTo>
                <a:lnTo>
                  <a:pt x="1590675" y="814387"/>
                </a:lnTo>
                <a:lnTo>
                  <a:pt x="1589324" y="766536"/>
                </a:lnTo>
                <a:lnTo>
                  <a:pt x="1585324" y="719413"/>
                </a:lnTo>
                <a:lnTo>
                  <a:pt x="1578747" y="673094"/>
                </a:lnTo>
                <a:lnTo>
                  <a:pt x="1569669" y="627656"/>
                </a:lnTo>
                <a:lnTo>
                  <a:pt x="1558164" y="583176"/>
                </a:lnTo>
                <a:lnTo>
                  <a:pt x="1544308" y="539729"/>
                </a:lnTo>
                <a:lnTo>
                  <a:pt x="1528173" y="497392"/>
                </a:lnTo>
                <a:lnTo>
                  <a:pt x="1509836" y="456241"/>
                </a:lnTo>
                <a:lnTo>
                  <a:pt x="1489370" y="416354"/>
                </a:lnTo>
                <a:lnTo>
                  <a:pt x="1466851" y="377805"/>
                </a:lnTo>
                <a:lnTo>
                  <a:pt x="1442352" y="340672"/>
                </a:lnTo>
                <a:lnTo>
                  <a:pt x="1415948" y="305031"/>
                </a:lnTo>
                <a:lnTo>
                  <a:pt x="1387715" y="270958"/>
                </a:lnTo>
                <a:lnTo>
                  <a:pt x="1357726" y="238529"/>
                </a:lnTo>
                <a:lnTo>
                  <a:pt x="1326057" y="207822"/>
                </a:lnTo>
                <a:lnTo>
                  <a:pt x="1292781" y="178912"/>
                </a:lnTo>
                <a:lnTo>
                  <a:pt x="1257973" y="151876"/>
                </a:lnTo>
                <a:lnTo>
                  <a:pt x="1221709" y="126791"/>
                </a:lnTo>
                <a:lnTo>
                  <a:pt x="1184062" y="103732"/>
                </a:lnTo>
                <a:lnTo>
                  <a:pt x="1145107" y="82775"/>
                </a:lnTo>
                <a:lnTo>
                  <a:pt x="1104919" y="63999"/>
                </a:lnTo>
                <a:lnTo>
                  <a:pt x="1063572" y="47478"/>
                </a:lnTo>
                <a:lnTo>
                  <a:pt x="1021142" y="33289"/>
                </a:lnTo>
                <a:lnTo>
                  <a:pt x="977701" y="21508"/>
                </a:lnTo>
                <a:lnTo>
                  <a:pt x="933326" y="12213"/>
                </a:lnTo>
                <a:lnTo>
                  <a:pt x="888091" y="5479"/>
                </a:lnTo>
                <a:lnTo>
                  <a:pt x="842069" y="1382"/>
                </a:lnTo>
                <a:lnTo>
                  <a:pt x="79533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5" name="bg object 25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0296525" y="2971800"/>
            <a:ext cx="1685925" cy="1685925"/>
          </a:xfrm>
          <a:prstGeom prst="rect">
            <a:avLst/>
          </a:prstGeom>
        </p:spPr>
      </p:pic>
      <p:sp>
        <p:nvSpPr>
          <p:cNvPr id="26" name="bg object 26"/>
          <p:cNvSpPr/>
          <p:nvPr/>
        </p:nvSpPr>
        <p:spPr>
          <a:xfrm>
            <a:off x="10391775" y="3067050"/>
            <a:ext cx="1495425" cy="1495425"/>
          </a:xfrm>
          <a:custGeom>
            <a:avLst/>
            <a:gdLst/>
            <a:ahLst/>
            <a:cxnLst/>
            <a:rect l="l" t="t" r="r" b="b"/>
            <a:pathLst>
              <a:path w="1495425" h="1495425">
                <a:moveTo>
                  <a:pt x="747712" y="0"/>
                </a:moveTo>
                <a:lnTo>
                  <a:pt x="700425" y="1471"/>
                </a:lnTo>
                <a:lnTo>
                  <a:pt x="653920" y="5825"/>
                </a:lnTo>
                <a:lnTo>
                  <a:pt x="608284" y="12976"/>
                </a:lnTo>
                <a:lnTo>
                  <a:pt x="563605" y="22835"/>
                </a:lnTo>
                <a:lnTo>
                  <a:pt x="519970" y="35315"/>
                </a:lnTo>
                <a:lnTo>
                  <a:pt x="477467" y="50329"/>
                </a:lnTo>
                <a:lnTo>
                  <a:pt x="436184" y="67788"/>
                </a:lnTo>
                <a:lnTo>
                  <a:pt x="396207" y="87605"/>
                </a:lnTo>
                <a:lnTo>
                  <a:pt x="357626" y="109693"/>
                </a:lnTo>
                <a:lnTo>
                  <a:pt x="320526" y="133964"/>
                </a:lnTo>
                <a:lnTo>
                  <a:pt x="284997" y="160330"/>
                </a:lnTo>
                <a:lnTo>
                  <a:pt x="251125" y="188704"/>
                </a:lnTo>
                <a:lnTo>
                  <a:pt x="218998" y="218998"/>
                </a:lnTo>
                <a:lnTo>
                  <a:pt x="188704" y="251125"/>
                </a:lnTo>
                <a:lnTo>
                  <a:pt x="160330" y="284997"/>
                </a:lnTo>
                <a:lnTo>
                  <a:pt x="133964" y="320526"/>
                </a:lnTo>
                <a:lnTo>
                  <a:pt x="109693" y="357626"/>
                </a:lnTo>
                <a:lnTo>
                  <a:pt x="87605" y="396207"/>
                </a:lnTo>
                <a:lnTo>
                  <a:pt x="67788" y="436184"/>
                </a:lnTo>
                <a:lnTo>
                  <a:pt x="50329" y="477467"/>
                </a:lnTo>
                <a:lnTo>
                  <a:pt x="35315" y="519970"/>
                </a:lnTo>
                <a:lnTo>
                  <a:pt x="22835" y="563605"/>
                </a:lnTo>
                <a:lnTo>
                  <a:pt x="12976" y="608284"/>
                </a:lnTo>
                <a:lnTo>
                  <a:pt x="5825" y="653920"/>
                </a:lnTo>
                <a:lnTo>
                  <a:pt x="1471" y="700425"/>
                </a:lnTo>
                <a:lnTo>
                  <a:pt x="0" y="747712"/>
                </a:lnTo>
                <a:lnTo>
                  <a:pt x="1471" y="794999"/>
                </a:lnTo>
                <a:lnTo>
                  <a:pt x="5825" y="841504"/>
                </a:lnTo>
                <a:lnTo>
                  <a:pt x="12976" y="887140"/>
                </a:lnTo>
                <a:lnTo>
                  <a:pt x="22835" y="931819"/>
                </a:lnTo>
                <a:lnTo>
                  <a:pt x="35315" y="975454"/>
                </a:lnTo>
                <a:lnTo>
                  <a:pt x="50329" y="1017957"/>
                </a:lnTo>
                <a:lnTo>
                  <a:pt x="67788" y="1059240"/>
                </a:lnTo>
                <a:lnTo>
                  <a:pt x="87605" y="1099217"/>
                </a:lnTo>
                <a:lnTo>
                  <a:pt x="109693" y="1137798"/>
                </a:lnTo>
                <a:lnTo>
                  <a:pt x="133964" y="1174898"/>
                </a:lnTo>
                <a:lnTo>
                  <a:pt x="160330" y="1210427"/>
                </a:lnTo>
                <a:lnTo>
                  <a:pt x="188704" y="1244299"/>
                </a:lnTo>
                <a:lnTo>
                  <a:pt x="218998" y="1276426"/>
                </a:lnTo>
                <a:lnTo>
                  <a:pt x="251125" y="1306720"/>
                </a:lnTo>
                <a:lnTo>
                  <a:pt x="284997" y="1335094"/>
                </a:lnTo>
                <a:lnTo>
                  <a:pt x="320526" y="1361460"/>
                </a:lnTo>
                <a:lnTo>
                  <a:pt x="357626" y="1385731"/>
                </a:lnTo>
                <a:lnTo>
                  <a:pt x="396207" y="1407819"/>
                </a:lnTo>
                <a:lnTo>
                  <a:pt x="436184" y="1427636"/>
                </a:lnTo>
                <a:lnTo>
                  <a:pt x="477467" y="1445095"/>
                </a:lnTo>
                <a:lnTo>
                  <a:pt x="519970" y="1460109"/>
                </a:lnTo>
                <a:lnTo>
                  <a:pt x="563605" y="1472589"/>
                </a:lnTo>
                <a:lnTo>
                  <a:pt x="608284" y="1482448"/>
                </a:lnTo>
                <a:lnTo>
                  <a:pt x="653920" y="1489599"/>
                </a:lnTo>
                <a:lnTo>
                  <a:pt x="700425" y="1493953"/>
                </a:lnTo>
                <a:lnTo>
                  <a:pt x="747712" y="1495425"/>
                </a:lnTo>
                <a:lnTo>
                  <a:pt x="794999" y="1493953"/>
                </a:lnTo>
                <a:lnTo>
                  <a:pt x="841504" y="1489599"/>
                </a:lnTo>
                <a:lnTo>
                  <a:pt x="887140" y="1482448"/>
                </a:lnTo>
                <a:lnTo>
                  <a:pt x="931819" y="1472589"/>
                </a:lnTo>
                <a:lnTo>
                  <a:pt x="975454" y="1460109"/>
                </a:lnTo>
                <a:lnTo>
                  <a:pt x="1017957" y="1445095"/>
                </a:lnTo>
                <a:lnTo>
                  <a:pt x="1059240" y="1427636"/>
                </a:lnTo>
                <a:lnTo>
                  <a:pt x="1099217" y="1407819"/>
                </a:lnTo>
                <a:lnTo>
                  <a:pt x="1137798" y="1385731"/>
                </a:lnTo>
                <a:lnTo>
                  <a:pt x="1174898" y="1361460"/>
                </a:lnTo>
                <a:lnTo>
                  <a:pt x="1210427" y="1335094"/>
                </a:lnTo>
                <a:lnTo>
                  <a:pt x="1244299" y="1306720"/>
                </a:lnTo>
                <a:lnTo>
                  <a:pt x="1276426" y="1276426"/>
                </a:lnTo>
                <a:lnTo>
                  <a:pt x="1306720" y="1244299"/>
                </a:lnTo>
                <a:lnTo>
                  <a:pt x="1335094" y="1210427"/>
                </a:lnTo>
                <a:lnTo>
                  <a:pt x="1361460" y="1174898"/>
                </a:lnTo>
                <a:lnTo>
                  <a:pt x="1385731" y="1137798"/>
                </a:lnTo>
                <a:lnTo>
                  <a:pt x="1407819" y="1099217"/>
                </a:lnTo>
                <a:lnTo>
                  <a:pt x="1427636" y="1059240"/>
                </a:lnTo>
                <a:lnTo>
                  <a:pt x="1445095" y="1017957"/>
                </a:lnTo>
                <a:lnTo>
                  <a:pt x="1460109" y="975454"/>
                </a:lnTo>
                <a:lnTo>
                  <a:pt x="1472589" y="931819"/>
                </a:lnTo>
                <a:lnTo>
                  <a:pt x="1482448" y="887140"/>
                </a:lnTo>
                <a:lnTo>
                  <a:pt x="1489599" y="841504"/>
                </a:lnTo>
                <a:lnTo>
                  <a:pt x="1493953" y="794999"/>
                </a:lnTo>
                <a:lnTo>
                  <a:pt x="1495425" y="747712"/>
                </a:lnTo>
                <a:lnTo>
                  <a:pt x="1493953" y="700425"/>
                </a:lnTo>
                <a:lnTo>
                  <a:pt x="1489599" y="653920"/>
                </a:lnTo>
                <a:lnTo>
                  <a:pt x="1482448" y="608284"/>
                </a:lnTo>
                <a:lnTo>
                  <a:pt x="1472589" y="563605"/>
                </a:lnTo>
                <a:lnTo>
                  <a:pt x="1460109" y="519970"/>
                </a:lnTo>
                <a:lnTo>
                  <a:pt x="1445095" y="477467"/>
                </a:lnTo>
                <a:lnTo>
                  <a:pt x="1427636" y="436184"/>
                </a:lnTo>
                <a:lnTo>
                  <a:pt x="1407819" y="396207"/>
                </a:lnTo>
                <a:lnTo>
                  <a:pt x="1385731" y="357626"/>
                </a:lnTo>
                <a:lnTo>
                  <a:pt x="1361460" y="320526"/>
                </a:lnTo>
                <a:lnTo>
                  <a:pt x="1335094" y="284997"/>
                </a:lnTo>
                <a:lnTo>
                  <a:pt x="1306720" y="251125"/>
                </a:lnTo>
                <a:lnTo>
                  <a:pt x="1276426" y="218998"/>
                </a:lnTo>
                <a:lnTo>
                  <a:pt x="1244299" y="188704"/>
                </a:lnTo>
                <a:lnTo>
                  <a:pt x="1210427" y="160330"/>
                </a:lnTo>
                <a:lnTo>
                  <a:pt x="1174898" y="133964"/>
                </a:lnTo>
                <a:lnTo>
                  <a:pt x="1137798" y="109693"/>
                </a:lnTo>
                <a:lnTo>
                  <a:pt x="1099217" y="87605"/>
                </a:lnTo>
                <a:lnTo>
                  <a:pt x="1059240" y="67788"/>
                </a:lnTo>
                <a:lnTo>
                  <a:pt x="1017957" y="50329"/>
                </a:lnTo>
                <a:lnTo>
                  <a:pt x="975454" y="35315"/>
                </a:lnTo>
                <a:lnTo>
                  <a:pt x="931819" y="22835"/>
                </a:lnTo>
                <a:lnTo>
                  <a:pt x="887140" y="12976"/>
                </a:lnTo>
                <a:lnTo>
                  <a:pt x="841504" y="5825"/>
                </a:lnTo>
                <a:lnTo>
                  <a:pt x="794999" y="1471"/>
                </a:lnTo>
                <a:lnTo>
                  <a:pt x="74771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7" name="bg object 27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9067800" y="3752850"/>
            <a:ext cx="1895475" cy="1885950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11579230" y="6523642"/>
            <a:ext cx="199390" cy="130175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80"/>
              </a:lnSpc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  <p:sp>
        <p:nvSpPr>
          <p:cNvPr id="32" name="CaseCode">
            <a:extLst>
              <a:ext uri="{FF2B5EF4-FFF2-40B4-BE49-F238E27FC236}">
                <a16:creationId xmlns:a16="http://schemas.microsoft.com/office/drawing/2014/main" id="{00B96EA4-A537-4915-A832-BBB7E00D7D93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 PAFPC Conference</a:t>
            </a:r>
          </a:p>
        </p:txBody>
      </p:sp>
      <p:sp>
        <p:nvSpPr>
          <p:cNvPr id="33" name="Copyright">
            <a:extLst>
              <a:ext uri="{FF2B5EF4-FFF2-40B4-BE49-F238E27FC236}">
                <a16:creationId xmlns:a16="http://schemas.microsoft.com/office/drawing/2014/main" id="{871CCC61-C4E0-4D8C-88AB-EEFCEBDF4B30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quering Monitor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BB01AEB-76F3-4DC7-ADA9-D7DE126FF4B3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43D79AC9-1E87-42AE-9FDF-AFDA9D38FB6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51578" y="806196"/>
            <a:ext cx="6651205" cy="540410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E4E2217-FB9D-46E1-B253-D5F898054EF8}"/>
              </a:ext>
            </a:extLst>
          </p:cNvPr>
          <p:cNvGrpSpPr/>
          <p:nvPr userDrawn="1"/>
        </p:nvGrpSpPr>
        <p:grpSpPr>
          <a:xfrm>
            <a:off x="501652" y="417441"/>
            <a:ext cx="2213044" cy="341834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EC45719C-B1A7-471E-9F72-D1409C79C1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E47EFBD3-1301-4717-9B60-0911F57B9F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6423EF1B-5B23-447A-BE1C-6A2F97BEA9C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4D96CD44-34B8-4487-BB4C-38D92CF8CF0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96D8AB73-6C16-4CB5-95BC-48FC9AE28D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E81D8B54-0F9A-4DFC-9888-8B34B8B83B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61E67166-B29A-4063-9649-BD7418830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60587DAE-F3CA-46C5-BC45-F6E8E4C68F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7C0292F9-C1FB-43E4-AC59-C2C7BB871DE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FB309C48-B6FC-44A3-B51D-9FE2519F0A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DB3D577-664B-48E5-9447-98DDD056A8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70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9C44755-8380-491B-86CB-6C64C69068A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10"/>
            <a:ext cx="4446270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36112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73FFBD2F-6D07-49C6-B30E-D6D38B9F54D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51578" y="806196"/>
            <a:ext cx="6651205" cy="54041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9373C5B-D5C0-4363-AD03-57C0B74E1767}"/>
              </a:ext>
            </a:extLst>
          </p:cNvPr>
          <p:cNvGrpSpPr/>
          <p:nvPr userDrawn="1"/>
        </p:nvGrpSpPr>
        <p:grpSpPr>
          <a:xfrm>
            <a:off x="506437" y="420624"/>
            <a:ext cx="1993846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7BD0B39D-8C19-480D-8CCA-330D6A2A96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B49144B5-A80B-4B9F-8DDD-45776DC6EF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A8CB3217-992B-4F08-BBCB-6575D3C04F8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DA8D1B7B-0123-469F-B024-7228FD9CE0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E062F267-C006-4831-A712-9D5DC7BF5F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92FCC664-803B-4672-AD38-78551FE1812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6C9F3E01-7ACF-4D92-955B-686713F042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D030C025-C0F5-4664-BC21-AAA50FF573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4401366D-A3B1-48B9-BA9C-49293B8178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4E5ADBCB-D627-44FF-B108-8EBD2D282B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BD1A99C9-23A7-4A3F-B3C1-29B52C571C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70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ACC39C0-1485-4092-A025-12E6E1FD9A02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10"/>
            <a:ext cx="4446270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6203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D0B776E-47E4-4206-AEC0-93D0B3416B29}"/>
              </a:ext>
            </a:extLst>
          </p:cNvPr>
          <p:cNvGrpSpPr/>
          <p:nvPr userDrawn="1"/>
        </p:nvGrpSpPr>
        <p:grpSpPr>
          <a:xfrm>
            <a:off x="506437" y="420624"/>
            <a:ext cx="1993846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714090D5-B300-4596-9E80-842532F916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743B3EB9-5108-40DF-A5AD-3F7AA98008E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875069FD-C3CE-4F25-9C97-7FEC793921A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D69FF541-CFE6-4406-AA51-B99405E34F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24BA15CB-F5E3-46FE-9F52-362EE5AE342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9C0BE37E-BF72-462E-A198-4DD44A5F8C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9EFFD376-8EF0-4EF9-BD35-A87ACA4FE0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8B0D1737-1D65-49B2-98D3-C61061C73C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E790C7B7-4C01-4FBC-BC25-80AA0359D3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901D7851-A815-48C9-9626-FBE7CEB980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30049B75-644C-40E9-918B-2D2125364B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70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513F3A8E-DAC7-4929-990C-44250DBA1F70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10"/>
            <a:ext cx="4446270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14127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5" y="1705672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5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FB491C58-FDC6-4EE5-A67A-26493A855541}"/>
              </a:ext>
            </a:extLst>
          </p:cNvPr>
          <p:cNvSpPr txBox="1"/>
          <p:nvPr userDrawn="1"/>
        </p:nvSpPr>
        <p:spPr>
          <a:xfrm>
            <a:off x="6335185" y="6477002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57B5F086-A360-45DE-818B-343106613D71}"/>
              </a:ext>
            </a:extLst>
          </p:cNvPr>
          <p:cNvSpPr txBox="1"/>
          <p:nvPr userDrawn="1"/>
        </p:nvSpPr>
        <p:spPr>
          <a:xfrm>
            <a:off x="501649" y="6477003"/>
            <a:ext cx="5355168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88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EB3962E-D404-46D8-9AF0-E33D98DCD8F3}"/>
              </a:ext>
            </a:extLst>
          </p:cNvPr>
          <p:cNvSpPr txBox="1"/>
          <p:nvPr userDrawn="1"/>
        </p:nvSpPr>
        <p:spPr>
          <a:xfrm>
            <a:off x="11382378" y="6477003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88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88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50146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2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1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aseCode">
            <a:extLst>
              <a:ext uri="{FF2B5EF4-FFF2-40B4-BE49-F238E27FC236}">
                <a16:creationId xmlns:a16="http://schemas.microsoft.com/office/drawing/2014/main" id="{EA8D1A0E-2938-4680-9D37-3C2F0128FF3F}"/>
              </a:ext>
            </a:extLst>
          </p:cNvPr>
          <p:cNvSpPr txBox="1"/>
          <p:nvPr userDrawn="1"/>
        </p:nvSpPr>
        <p:spPr>
          <a:xfrm>
            <a:off x="6335185" y="6477002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6EFF4D1E-EF3F-4F30-B848-EEF44B181E11}"/>
              </a:ext>
            </a:extLst>
          </p:cNvPr>
          <p:cNvSpPr txBox="1"/>
          <p:nvPr userDrawn="1"/>
        </p:nvSpPr>
        <p:spPr>
          <a:xfrm>
            <a:off x="501649" y="6477003"/>
            <a:ext cx="5355168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88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ACFBBC-0846-4864-AC28-7A4A3ABB1653}"/>
              </a:ext>
            </a:extLst>
          </p:cNvPr>
          <p:cNvSpPr txBox="1"/>
          <p:nvPr userDrawn="1"/>
        </p:nvSpPr>
        <p:spPr>
          <a:xfrm>
            <a:off x="11382378" y="6477003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88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88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14582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D0DB801-6C6E-478E-BB10-8624955E3E8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28000" y="1705672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91BFAD2-A383-46D8-868F-4252F2955AE0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528001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89221EEF-A22B-4244-9709-F29E7F5696CE}"/>
              </a:ext>
            </a:extLst>
          </p:cNvPr>
          <p:cNvSpPr txBox="1"/>
          <p:nvPr userDrawn="1"/>
        </p:nvSpPr>
        <p:spPr>
          <a:xfrm>
            <a:off x="6335185" y="6477002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A846D0A3-A49A-472C-B477-FB541D983E37}"/>
              </a:ext>
            </a:extLst>
          </p:cNvPr>
          <p:cNvSpPr txBox="1"/>
          <p:nvPr userDrawn="1"/>
        </p:nvSpPr>
        <p:spPr>
          <a:xfrm>
            <a:off x="501649" y="6477003"/>
            <a:ext cx="5355168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88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91A2080-D983-419A-B6A8-D25E10D51627}"/>
              </a:ext>
            </a:extLst>
          </p:cNvPr>
          <p:cNvSpPr txBox="1"/>
          <p:nvPr userDrawn="1"/>
        </p:nvSpPr>
        <p:spPr>
          <a:xfrm>
            <a:off x="11382378" y="6477003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88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88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2914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1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8F7DD34-29B7-4460-9D03-E90CAD0BBD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1281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8F7DD34-29B7-4460-9D03-E90CAD0BBD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7316" y="1705672"/>
            <a:ext cx="10517717" cy="1592403"/>
          </a:xfrm>
        </p:spPr>
        <p:txBody>
          <a:bodyPr vert="horz"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5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aseCode">
            <a:extLst>
              <a:ext uri="{FF2B5EF4-FFF2-40B4-BE49-F238E27FC236}">
                <a16:creationId xmlns:a16="http://schemas.microsoft.com/office/drawing/2014/main" id="{329C7A72-389C-42FF-910E-C73B2B70791C}"/>
              </a:ext>
            </a:extLst>
          </p:cNvPr>
          <p:cNvSpPr txBox="1"/>
          <p:nvPr userDrawn="1"/>
        </p:nvSpPr>
        <p:spPr>
          <a:xfrm>
            <a:off x="6335185" y="6477002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852C62FC-FBBC-42E4-BF84-5928ED66A81B}"/>
              </a:ext>
            </a:extLst>
          </p:cNvPr>
          <p:cNvSpPr txBox="1"/>
          <p:nvPr userDrawn="1"/>
        </p:nvSpPr>
        <p:spPr>
          <a:xfrm>
            <a:off x="501649" y="6477003"/>
            <a:ext cx="5355168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88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5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178B5A-D3A7-4776-8609-1815F1A9A015}"/>
              </a:ext>
            </a:extLst>
          </p:cNvPr>
          <p:cNvSpPr txBox="1"/>
          <p:nvPr userDrawn="1"/>
        </p:nvSpPr>
        <p:spPr>
          <a:xfrm>
            <a:off x="11382378" y="6477003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88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88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73018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5049338-7875-4927-82E0-03C95D8320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8658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5049338-7875-4927-82E0-03C95D8320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AA52354-AD0C-4278-A20C-E161AEB4D1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0358903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A96709-DC00-4570-B140-895E15716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583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A96709-DC00-4570-B140-895E15716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538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8F5CB4A9-3C7F-4829-BD7E-C42F0517765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081527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66A5C41-60AA-4C25-8080-4F0DFF19B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25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66A5C41-60AA-4C25-8080-4F0DFF19B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0FFDC9-4859-4F86-9E1A-7D269FFCA2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96968" y="2057400"/>
            <a:ext cx="11201401" cy="39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97681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96978" y="1639969"/>
            <a:ext cx="11201401" cy="36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DE3B7BC5-B06B-40CF-B184-81BB1F9871A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BE32CF0A-0DCD-47C5-AA9A-AD708FE81E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6968" y="6132378"/>
            <a:ext cx="11201401" cy="252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6574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A96709-DC00-4570-B140-895E15716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583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A96709-DC00-4570-B140-895E15716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538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8F5CB4A9-3C7F-4829-BD7E-C42F0517765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0529619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two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954C1B-9B85-4D98-9B7C-DD27C71008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065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954C1B-9B85-4D98-9B7C-DD27C71008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97745" y="6132547"/>
            <a:ext cx="11203200" cy="252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800" dirty="0"/>
            </a:lvl1pPr>
          </a:lstStyle>
          <a:p>
            <a:pPr lvl="0">
              <a:spcAft>
                <a:spcPts val="0"/>
              </a:spcAft>
            </a:pPr>
            <a:r>
              <a:rPr lang="en-US"/>
              <a:t>Click to edit Master text styles</a:t>
            </a:r>
          </a:p>
          <a:p>
            <a:pPr lvl="0">
              <a:spcAft>
                <a:spcPts val="0"/>
              </a:spcAft>
            </a:pPr>
            <a:endParaRPr lang="en-US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4C9C465-5F81-4C4E-AE36-82D75EF23C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7681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A108B9C2-D6E9-4F22-A358-F556910FD39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385AE09-84CB-40D7-9DEA-F4FDCC779B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2516" y="1640168"/>
            <a:ext cx="5486400" cy="36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7DBC7EB-62D2-4040-B1DD-56E1F55811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7745" y="1640168"/>
            <a:ext cx="5486400" cy="36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A3AFF79-94AA-43F5-A0A5-FED7412D5A6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97745" y="2057399"/>
            <a:ext cx="5486400" cy="39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24ED36A-C42A-4B02-9FE8-7456AFD8641A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12516" y="2057399"/>
            <a:ext cx="5486400" cy="39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05934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7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88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8" y="4211955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/>
            </a:lvl1pPr>
          </a:lstStyle>
          <a:p>
            <a:r>
              <a:rPr lang="en-GB" sz="731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1" y="6018028"/>
            <a:ext cx="2319502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932EF8D-58C7-4BFE-979F-71085BA04497}"/>
              </a:ext>
            </a:extLst>
          </p:cNvPr>
          <p:cNvGrpSpPr/>
          <p:nvPr userDrawn="1"/>
        </p:nvGrpSpPr>
        <p:grpSpPr>
          <a:xfrm>
            <a:off x="501652" y="417441"/>
            <a:ext cx="2213044" cy="341834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7A4C1197-3E6C-4DAD-9B00-0297923072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711120F8-EB53-44F9-9A58-FFC4B88F3C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64E0BC4B-DF5F-4ECF-B47A-B8B37917F9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5922827-B226-4FFA-B5CF-8A35820D5B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6F69513F-5D9F-4A56-9C1E-682029BD85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10B75E69-5B06-4DBF-8391-C70D12CC11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5840B18B-3BD0-465A-9FE7-3F0895B1B8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A5CEB97F-5F11-4774-855C-32D0CDDA6A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A93FD22A-DFF7-4A90-B353-4B4B514CDB1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27E5D9B9-EC55-4842-8BA2-5565E95875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69511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E7CE24-FDA7-453D-848B-51687DD68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5580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E7CE24-FDA7-453D-848B-51687DD68D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seCode">
            <a:extLst>
              <a:ext uri="{FF2B5EF4-FFF2-40B4-BE49-F238E27FC236}">
                <a16:creationId xmlns:a16="http://schemas.microsoft.com/office/drawing/2014/main" id="{4D067F15-7090-4FD4-8B55-76CB78DD9BD0}"/>
              </a:ext>
            </a:extLst>
          </p:cNvPr>
          <p:cNvSpPr txBox="1"/>
          <p:nvPr userDrawn="1"/>
        </p:nvSpPr>
        <p:spPr>
          <a:xfrm>
            <a:off x="6335185" y="6477002"/>
            <a:ext cx="4896560" cy="2249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731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731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731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3EFA35-A937-47F7-93E5-9465F8876AC6}"/>
              </a:ext>
            </a:extLst>
          </p:cNvPr>
          <p:cNvSpPr txBox="1"/>
          <p:nvPr userDrawn="1"/>
        </p:nvSpPr>
        <p:spPr>
          <a:xfrm>
            <a:off x="501649" y="6477003"/>
            <a:ext cx="5355168" cy="2249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88"/>
              </a:spcBef>
              <a:buSzPct val="100000"/>
              <a:buFont typeface="Arial"/>
              <a:buNone/>
            </a:pPr>
            <a:r>
              <a:rPr lang="en-US" sz="731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731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731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8" y="6477003"/>
            <a:ext cx="307975" cy="112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88"/>
              </a:spcBef>
              <a:buSzPct val="100000"/>
              <a:buFont typeface="Arial"/>
              <a:buNone/>
            </a:pPr>
            <a:fld id="{C58DF478-B544-4ED8-9ED4-6A2648E2D233}" type="slidenum">
              <a:rPr lang="en-US" sz="731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88"/>
                </a:spcBef>
                <a:buSzPct val="100000"/>
                <a:buFont typeface="Arial"/>
                <a:buNone/>
              </a:pPr>
              <a:t>‹#›</a:t>
            </a:fld>
            <a:endParaRPr lang="en-US" sz="731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F894959D-5837-4BF7-8AA5-2572907695C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32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4801317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0635050-01AE-41CE-9250-53C6289070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4953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0635050-01AE-41CE-9250-53C628907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9FCADB32-14E1-40ED-ABFA-39BA17EE1E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7681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0E9FF4B9-2071-4F05-988E-0575B99A670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06080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chart 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F31A6A5-F7B1-48AE-B408-2B0B365FF5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7503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F31A6A5-F7B1-48AE-B408-2B0B365FF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32AFEA1-6FE2-4AA6-AADD-13F033F8A9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538" y="651600"/>
            <a:ext cx="112014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631EDFD-92A2-43FC-A116-27DC2AE8765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8538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70096EF1-254B-4922-BEDF-CA3255353A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8538" y="1638299"/>
            <a:ext cx="11201401" cy="36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7BEA56D-AAC5-477C-ACC6-7E3246BD08D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8538" y="6131910"/>
            <a:ext cx="11201401" cy="252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9B17AFC-C89E-4AEE-ADF7-5485393BAFEE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98538" y="2066724"/>
            <a:ext cx="11201401" cy="39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81448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two columns-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D8C86C-41DF-4FC8-AAFC-E04709DE62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327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6" progId="TCLayout.ActiveDocument.1">
                  <p:embed/>
                </p:oleObj>
              </mc:Choice>
              <mc:Fallback>
                <p:oleObj name="think-cell Slide" r:id="rId3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D8C86C-41DF-4FC8-AAFC-E04709DE62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35E2B66-A793-4024-BA15-AA410671421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98538" y="6133714"/>
            <a:ext cx="11203200" cy="25200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91EA47B3-DAF6-428A-A323-2001A77C0B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7681" y="651600"/>
            <a:ext cx="11203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99C7F41A-F8C0-4781-BE4A-7D6DCD7C6FA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3200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523A38F-6B77-4607-B5B6-F684E8ED5D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12516" y="1640516"/>
            <a:ext cx="5486400" cy="36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83A8EC9-A2D1-434F-B774-2CA6261818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7681" y="1640168"/>
            <a:ext cx="5486400" cy="3600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2C7B1DDC-9756-41E8-9F3A-94D1176F18A1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497681" y="2063750"/>
            <a:ext cx="5486400" cy="39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1222C159-F5F0-411B-8A92-27E49137CA6C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6212516" y="2063750"/>
            <a:ext cx="5486400" cy="39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1843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7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88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8" y="4211955"/>
            <a:ext cx="2319503" cy="1725448"/>
          </a:xfrm>
        </p:spPr>
        <p:txBody>
          <a:bodyPr anchor="ctr" anchorCtr="0">
            <a:norm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GB" sz="731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1" y="6018028"/>
            <a:ext cx="2319502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023F238-A5A1-4FFA-BD4C-55A2B71E3326}"/>
              </a:ext>
            </a:extLst>
          </p:cNvPr>
          <p:cNvGrpSpPr/>
          <p:nvPr userDrawn="1"/>
        </p:nvGrpSpPr>
        <p:grpSpPr>
          <a:xfrm>
            <a:off x="506437" y="420624"/>
            <a:ext cx="1993846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27DF71CC-CDBA-4CB6-8888-3B961E6858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71763EFE-EEAF-408E-8BB3-DCC84C8321C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DFA59803-A35A-47BE-8AED-8C3998E2AD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15BD9BD-E5B0-4026-BF07-261EED59DD1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8BFDA78D-EBA2-4F62-AA1D-954F9C24BC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4EE75FDB-DE95-42B3-883D-208D003C30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4BC607FF-1DC4-48B2-99FF-8D7EC84C8B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C066A27F-3E81-45B2-8AAD-0B8F656714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A8AC1F41-5FBE-457C-AAFA-2A30C1A5CE4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C0CCB16B-6566-4A70-A954-7F2500B5D21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694520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320938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4923715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40694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200" y="5530390"/>
            <a:ext cx="559201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53971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4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86144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43766494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30693101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1146294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54814617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33944979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72182093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67054499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64589608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aseCode">
            <a:extLst>
              <a:ext uri="{FF2B5EF4-FFF2-40B4-BE49-F238E27FC236}">
                <a16:creationId xmlns:a16="http://schemas.microsoft.com/office/drawing/2014/main" id="{4D067F15-7090-4FD4-8B55-76CB78DD9BD0}"/>
              </a:ext>
            </a:extLst>
          </p:cNvPr>
          <p:cNvSpPr txBox="1"/>
          <p:nvPr userDrawn="1"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A13EFA35-A937-47F7-93E5-9465F8876AC6}"/>
              </a:ext>
            </a:extLst>
          </p:cNvPr>
          <p:cNvSpPr txBox="1"/>
          <p:nvPr userDrawn="1"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9B4359-4F20-4FAE-B7A0-C54983A639ED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361404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75325" y="553039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364184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/>
              <a:t>Insert sponsorship mark her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266391"/>
      </p:ext>
    </p:extLst>
  </p:cSld>
  <p:clrMapOvr>
    <a:masterClrMapping/>
  </p:clrMapOvr>
  <p:hf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44520" y="6519031"/>
            <a:ext cx="1671320" cy="115416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0" i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12700">
              <a:lnSpc>
                <a:spcPts val="880"/>
              </a:lnSpc>
            </a:pPr>
            <a:r>
              <a:rPr lang="en-US"/>
              <a:t>YESSER! Ace ESSER Monitoring</a:t>
            </a:r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9925235" y="6519031"/>
            <a:ext cx="1322307" cy="23544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0" i="0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12700">
              <a:lnSpc>
                <a:spcPts val="880"/>
              </a:lnSpc>
            </a:pPr>
            <a:r>
              <a:rPr lang="en-US"/>
              <a:t>2023 PAFPC Conference</a:t>
            </a:r>
            <a:endParaRPr lang="en-US" spc="-10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880"/>
              </a:lnSpc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</p:spTree>
    <p:extLst>
      <p:ext uri="{BB962C8B-B14F-4D97-AF65-F5344CB8AC3E}">
        <p14:creationId xmlns:p14="http://schemas.microsoft.com/office/powerpoint/2010/main" val="40239421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8573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9" Type="http://schemas.openxmlformats.org/officeDocument/2006/relationships/slideLayout" Target="../slideLayouts/slideLayout45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42" Type="http://schemas.openxmlformats.org/officeDocument/2006/relationships/slideLayout" Target="../slideLayouts/slideLayout48.xml"/><Relationship Id="rId47" Type="http://schemas.openxmlformats.org/officeDocument/2006/relationships/image" Target="../media/image9.emf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44.xml"/><Relationship Id="rId46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5.xml"/><Relationship Id="rId41" Type="http://schemas.openxmlformats.org/officeDocument/2006/relationships/slideLayout" Target="../slideLayouts/slideLayout47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43.xml"/><Relationship Id="rId40" Type="http://schemas.openxmlformats.org/officeDocument/2006/relationships/slideLayout" Target="../slideLayouts/slideLayout46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4" Type="http://schemas.openxmlformats.org/officeDocument/2006/relationships/theme" Target="../theme/theme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Relationship Id="rId43" Type="http://schemas.openxmlformats.org/officeDocument/2006/relationships/slideLayout" Target="../slideLayouts/slideLayout4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52.xml"/><Relationship Id="rId21" Type="http://schemas.openxmlformats.org/officeDocument/2006/relationships/image" Target="../media/image9.emf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oleObject" Target="../embeddings/oleObject5.bin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oleObject" Target="../embeddings/oleObject15.bin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tags" Target="../tags/tag15.xml"/><Relationship Id="rId2" Type="http://schemas.openxmlformats.org/officeDocument/2006/relationships/slideLayout" Target="../slideLayouts/slideLayout68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76.xml"/><Relationship Id="rId19" Type="http://schemas.openxmlformats.org/officeDocument/2006/relationships/image" Target="../media/image9.emf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44500" y="294516"/>
            <a:ext cx="10210544" cy="6565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149848" y="1744846"/>
            <a:ext cx="6648450" cy="34671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D9EC8E55-61CA-461A-91E6-6DB43BA8E642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 PAFPC Conference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88B2B62-6A14-4218-A20F-B4769764FDFF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quering Monitor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A787AA3-D51C-438A-B1C2-BC5943C1AC10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787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410953" y="6477000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E2749E66-DBA9-4743-98B4-FD1DCBEF3D27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 PAFPC Conference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74AD1804-AF02-41A2-B955-E6BB3911B9E3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quering Monitoring</a:t>
            </a:r>
          </a:p>
        </p:txBody>
      </p:sp>
    </p:spTree>
    <p:extLst>
      <p:ext uri="{BB962C8B-B14F-4D97-AF65-F5344CB8AC3E}">
        <p14:creationId xmlns:p14="http://schemas.microsoft.com/office/powerpoint/2010/main" val="897941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746" r:id="rId36"/>
    <p:sldLayoutId id="2147483747" r:id="rId37"/>
    <p:sldLayoutId id="2147483748" r:id="rId38"/>
    <p:sldLayoutId id="2147483749" r:id="rId39"/>
    <p:sldLayoutId id="2147483750" r:id="rId40"/>
    <p:sldLayoutId id="2147483751" r:id="rId41"/>
    <p:sldLayoutId id="2147483753" r:id="rId42"/>
    <p:sldLayoutId id="2147483803" r:id="rId43"/>
  </p:sldLayoutIdLst>
  <p:transition>
    <p:fade/>
  </p:transition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73828893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7681" y="304800"/>
            <a:ext cx="11201401" cy="342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97681" y="1638300"/>
            <a:ext cx="11201401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8" y="6477003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88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488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BA6F84C7-C729-4D74-8BCF-AB9DB556B469}"/>
              </a:ext>
            </a:extLst>
          </p:cNvPr>
          <p:cNvSpPr txBox="1"/>
          <p:nvPr userDrawn="1"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 PAFPC Conference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FC02BA7F-27E9-446F-BBA1-0B5E1319CE6D}"/>
              </a:ext>
            </a:extLst>
          </p:cNvPr>
          <p:cNvSpPr txBox="1"/>
          <p:nvPr userDrawn="1"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quering Monitoring</a:t>
            </a:r>
          </a:p>
        </p:txBody>
      </p:sp>
    </p:spTree>
    <p:extLst>
      <p:ext uri="{BB962C8B-B14F-4D97-AF65-F5344CB8AC3E}">
        <p14:creationId xmlns:p14="http://schemas.microsoft.com/office/powerpoint/2010/main" val="3037187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  <p:sldLayoutId id="2147483785" r:id="rId16"/>
    <p:sldLayoutId id="2147483786" r:id="rId17"/>
  </p:sldLayoutIdLst>
  <p:transition>
    <p:fade/>
  </p:transition>
  <p:hf hdr="0" dt="0"/>
  <p:txStyles>
    <p:titleStyle>
      <a:lvl1pPr algn="l" defTabSz="74295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742950" rtl="0" eaLnBrk="1" latinLnBrk="0" hangingPunct="1">
        <a:spcBef>
          <a:spcPts val="0"/>
        </a:spcBef>
        <a:spcAft>
          <a:spcPts val="488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13506" indent="-113506" algn="l" defTabSz="742950" rtl="0" eaLnBrk="1" latinLnBrk="0" hangingPunct="1">
        <a:spcBef>
          <a:spcPts val="0"/>
        </a:spcBef>
        <a:spcAft>
          <a:spcPts val="488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2pPr>
      <a:lvl3pPr marL="247650" indent="-113506" algn="l" defTabSz="742950" rtl="0" eaLnBrk="1" latinLnBrk="0" hangingPunct="1">
        <a:spcBef>
          <a:spcPts val="0"/>
        </a:spcBef>
        <a:spcAft>
          <a:spcPts val="488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81794" indent="-113506" algn="l" defTabSz="742950" rtl="0" eaLnBrk="1" latinLnBrk="0" hangingPunct="1">
        <a:spcBef>
          <a:spcPts val="0"/>
        </a:spcBef>
        <a:spcAft>
          <a:spcPts val="488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515938" indent="-113506" algn="l" defTabSz="648792" rtl="0" eaLnBrk="1" latinLnBrk="0" hangingPunct="1">
        <a:spcBef>
          <a:spcPts val="0"/>
        </a:spcBef>
        <a:spcAft>
          <a:spcPts val="488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432900" indent="-143325" algn="l" defTabSz="742950" rtl="0" eaLnBrk="1" latinLnBrk="0" hangingPunct="1">
        <a:spcBef>
          <a:spcPts val="0"/>
        </a:spcBef>
        <a:spcAft>
          <a:spcPts val="813"/>
        </a:spcAft>
        <a:buFont typeface="Verdana" panose="020B0604030504040204" pitchFamily="34" charset="0"/>
        <a:buChar char="−"/>
        <a:defRPr sz="975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432900" indent="-143325" algn="l" defTabSz="742950" rtl="0" eaLnBrk="1" latinLnBrk="0" hangingPunct="1">
        <a:spcBef>
          <a:spcPts val="0"/>
        </a:spcBef>
        <a:spcAft>
          <a:spcPts val="813"/>
        </a:spcAft>
        <a:buFont typeface="Verdana" panose="020B0604030504040204" pitchFamily="34" charset="0"/>
        <a:buChar char="−"/>
        <a:defRPr sz="975" kern="1200">
          <a:solidFill>
            <a:schemeClr val="tx1"/>
          </a:solidFill>
          <a:latin typeface="+mn-lt"/>
          <a:ea typeface="+mn-ea"/>
          <a:cs typeface="+mn-cs"/>
        </a:defRPr>
      </a:lvl7pPr>
      <a:lvl8pPr marL="432900" indent="-143325" algn="l" defTabSz="742950" rtl="0" eaLnBrk="1" latinLnBrk="0" hangingPunct="1">
        <a:spcBef>
          <a:spcPts val="0"/>
        </a:spcBef>
        <a:spcAft>
          <a:spcPts val="813"/>
        </a:spcAft>
        <a:buFont typeface="Verdana" panose="020B0604030504040204" pitchFamily="34" charset="0"/>
        <a:buChar char="−"/>
        <a:defRPr sz="975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432900" indent="-143325" algn="l" defTabSz="742950" rtl="0" eaLnBrk="1" latinLnBrk="0" hangingPunct="1">
        <a:spcBef>
          <a:spcPts val="0"/>
        </a:spcBef>
        <a:spcAft>
          <a:spcPts val="813"/>
        </a:spcAft>
        <a:buFont typeface="Verdana" panose="020B0604030504040204" pitchFamily="34" charset="0"/>
        <a:buChar char="−"/>
        <a:defRPr sz="975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6" orient="horz" pos="4032">
          <p15:clr>
            <a:srgbClr val="F26B43"/>
          </p15:clr>
        </p15:guide>
        <p15:guide id="51" orient="horz" pos="4080">
          <p15:clr>
            <a:srgbClr val="F26B43"/>
          </p15:clr>
        </p15:guide>
        <p15:guide id="52" pos="3120">
          <p15:clr>
            <a:srgbClr val="F26B43"/>
          </p15:clr>
        </p15:guide>
        <p15:guide id="53" pos="3179">
          <p15:clr>
            <a:srgbClr val="F26B43"/>
          </p15:clr>
        </p15:guide>
        <p15:guide id="54" pos="3062">
          <p15:clr>
            <a:srgbClr val="F26B43"/>
          </p15:clr>
        </p15:guide>
        <p15:guide id="63" pos="254">
          <p15:clr>
            <a:srgbClr val="F26B43"/>
          </p15:clr>
        </p15:guide>
        <p15:guide id="64" orient="horz" pos="1032">
          <p15:clr>
            <a:srgbClr val="F26B43"/>
          </p15:clr>
        </p15:guide>
        <p15:guide id="65" orient="horz" pos="408">
          <p15:clr>
            <a:srgbClr val="F26B43"/>
          </p15:clr>
        </p15:guide>
        <p15:guide id="66" orient="horz" pos="192">
          <p15:clr>
            <a:srgbClr val="F26B43"/>
          </p15:clr>
        </p15:guide>
        <p15:guide id="67" pos="5987">
          <p15:clr>
            <a:srgbClr val="F26B43"/>
          </p15:clr>
        </p15:guide>
        <p15:guide id="68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5" name="CaseCode"/>
          <p:cNvSpPr txBox="1"/>
          <p:nvPr/>
        </p:nvSpPr>
        <p:spPr>
          <a:xfrm>
            <a:off x="6335184" y="6477000"/>
            <a:ext cx="489656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 PAFPC Conference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quering Monitoring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6424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3802" r:id="rId14"/>
    <p:sldLayoutId id="2147483804" r:id="rId15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10" pos="3721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3" pos="5098">
          <p15:clr>
            <a:srgbClr val="F26B43"/>
          </p15:clr>
        </p15:guide>
        <p15:guide id="25" orient="horz" pos="3968">
          <p15:clr>
            <a:srgbClr val="F26B43"/>
          </p15:clr>
        </p15:guide>
        <p15:guide id="26" pos="312">
          <p15:clr>
            <a:srgbClr val="F26B43"/>
          </p15:clr>
        </p15:guide>
        <p15:guide id="27" pos="7368">
          <p15:clr>
            <a:srgbClr val="F26B43"/>
          </p15:clr>
        </p15:guide>
        <p15:guide id="29" orient="horz" pos="245">
          <p15:clr>
            <a:srgbClr val="F26B43"/>
          </p15:clr>
        </p15:guide>
        <p15:guide id="30" orient="horz" pos="4081">
          <p15:clr>
            <a:srgbClr val="F26B43"/>
          </p15:clr>
        </p15:guide>
        <p15:guide id="31" pos="4986">
          <p15:clr>
            <a:srgbClr val="F26B43"/>
          </p15:clr>
        </p15:guide>
        <p15:guide id="32" pos="1382">
          <p15:clr>
            <a:srgbClr val="F26B43"/>
          </p15:clr>
        </p15:guide>
        <p15:guide id="33" pos="1496">
          <p15:clr>
            <a:srgbClr val="F26B43"/>
          </p15:clr>
        </p15:guide>
        <p15:guide id="34" pos="2581">
          <p15:clr>
            <a:srgbClr val="F26B43"/>
          </p15:clr>
        </p15:guide>
        <p15:guide id="35" pos="2695">
          <p15:clr>
            <a:srgbClr val="F26B43"/>
          </p15:clr>
        </p15:guide>
        <p15:guide id="36" pos="6185">
          <p15:clr>
            <a:srgbClr val="F26B43"/>
          </p15:clr>
        </p15:guide>
        <p15:guide id="37" pos="3783">
          <p15:clr>
            <a:srgbClr val="F26B43"/>
          </p15:clr>
        </p15:guide>
        <p15:guide id="38" pos="3896">
          <p15:clr>
            <a:srgbClr val="F26B43"/>
          </p15:clr>
        </p15:guide>
        <p15:guide id="40" pos="6299">
          <p15:clr>
            <a:srgbClr val="F26B43"/>
          </p15:clr>
        </p15:guide>
        <p15:guide id="42" orient="horz" pos="641">
          <p15:clr>
            <a:srgbClr val="F26B43"/>
          </p15:clr>
        </p15:guide>
        <p15:guide id="43" orient="horz" pos="288">
          <p15:clr>
            <a:srgbClr val="F26B43"/>
          </p15:clr>
        </p15:guide>
        <p15:guide id="44" pos="5112">
          <p15:clr>
            <a:srgbClr val="F26B43"/>
          </p15:clr>
        </p15:guide>
        <p15:guide id="45" orient="horz" pos="2160">
          <p15:clr>
            <a:srgbClr val="F26B43"/>
          </p15:clr>
        </p15:guide>
        <p15:guide id="46" orient="horz" pos="4020">
          <p15:clr>
            <a:srgbClr val="F26B43"/>
          </p15:clr>
        </p15:guide>
        <p15:guide id="47" pos="316">
          <p15:clr>
            <a:srgbClr val="F26B43"/>
          </p15:clr>
        </p15:guide>
        <p15:guide id="48" pos="7364">
          <p15:clr>
            <a:srgbClr val="F26B43"/>
          </p15:clr>
        </p15:guide>
        <p15:guide id="49" orient="horz" pos="1071">
          <p15:clr>
            <a:srgbClr val="F26B43"/>
          </p15:clr>
        </p15:guide>
        <p15:guide id="50" orient="horz" pos="200">
          <p15:clr>
            <a:srgbClr val="F26B43"/>
          </p15:clr>
        </p15:guide>
        <p15:guide id="51" orient="horz" pos="4080">
          <p15:clr>
            <a:srgbClr val="F26B43"/>
          </p15:clr>
        </p15:guide>
        <p15:guide id="52" pos="4961">
          <p15:clr>
            <a:srgbClr val="F26B43"/>
          </p15:clr>
        </p15:guide>
        <p15:guide id="53" orient="horz" pos="236">
          <p15:clr>
            <a:srgbClr val="F26B43"/>
          </p15:clr>
        </p15:guide>
        <p15:guide id="54" pos="1363">
          <p15:clr>
            <a:srgbClr val="F26B43"/>
          </p15:clr>
        </p15:guide>
        <p15:guide id="55" pos="1516">
          <p15:clr>
            <a:srgbClr val="F26B43"/>
          </p15:clr>
        </p15:guide>
        <p15:guide id="56" pos="2560">
          <p15:clr>
            <a:srgbClr val="F26B43"/>
          </p15:clr>
        </p15:guide>
        <p15:guide id="57" pos="2711">
          <p15:clr>
            <a:srgbClr val="F26B43"/>
          </p15:clr>
        </p15:guide>
        <p15:guide id="58" pos="6160">
          <p15:clr>
            <a:srgbClr val="F26B43"/>
          </p15:clr>
        </p15:guide>
        <p15:guide id="59" pos="3764">
          <p15:clr>
            <a:srgbClr val="F26B43"/>
          </p15:clr>
        </p15:guide>
        <p15:guide id="60" pos="3916">
          <p15:clr>
            <a:srgbClr val="F26B43"/>
          </p15:clr>
        </p15:guide>
        <p15:guide id="61" pos="3840">
          <p15:clr>
            <a:srgbClr val="F26B43"/>
          </p15:clr>
        </p15:guide>
        <p15:guide id="62" pos="6312">
          <p15:clr>
            <a:srgbClr val="F26B43"/>
          </p15:clr>
        </p15:guide>
        <p15:guide id="63" orient="horz" pos="1049">
          <p15:clr>
            <a:srgbClr val="F26B43"/>
          </p15:clr>
        </p15:guide>
        <p15:guide id="64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png"/><Relationship Id="rId3" Type="http://schemas.openxmlformats.org/officeDocument/2006/relationships/image" Target="../media/image16.png"/><Relationship Id="rId7" Type="http://schemas.openxmlformats.org/officeDocument/2006/relationships/image" Target="../media/image60.svg"/><Relationship Id="rId12" Type="http://schemas.openxmlformats.org/officeDocument/2006/relationships/image" Target="../media/image65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52.sv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59.png"/><Relationship Id="rId11" Type="http://schemas.openxmlformats.org/officeDocument/2006/relationships/image" Target="../media/image64.svg"/><Relationship Id="rId5" Type="http://schemas.openxmlformats.org/officeDocument/2006/relationships/image" Target="../media/image58.svg"/><Relationship Id="rId15" Type="http://schemas.openxmlformats.org/officeDocument/2006/relationships/image" Target="../media/image51.png"/><Relationship Id="rId10" Type="http://schemas.openxmlformats.org/officeDocument/2006/relationships/image" Target="../media/image63.png"/><Relationship Id="rId4" Type="http://schemas.openxmlformats.org/officeDocument/2006/relationships/image" Target="../media/image57.png"/><Relationship Id="rId9" Type="http://schemas.openxmlformats.org/officeDocument/2006/relationships/image" Target="../media/image62.svg"/><Relationship Id="rId14" Type="http://schemas.openxmlformats.org/officeDocument/2006/relationships/image" Target="../media/image67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6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microsoft.com/office/2007/relationships/hdphoto" Target="../media/hdphoto1.wdp"/><Relationship Id="rId5" Type="http://schemas.openxmlformats.org/officeDocument/2006/relationships/image" Target="../media/image18.png"/><Relationship Id="rId4" Type="http://schemas.openxmlformats.org/officeDocument/2006/relationships/image" Target="../media/image17.jpeg"/><Relationship Id="rId9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6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18" Type="http://schemas.openxmlformats.org/officeDocument/2006/relationships/image" Target="../media/image37.png"/><Relationship Id="rId26" Type="http://schemas.openxmlformats.org/officeDocument/2006/relationships/image" Target="../media/image45.png"/><Relationship Id="rId3" Type="http://schemas.openxmlformats.org/officeDocument/2006/relationships/image" Target="../media/image22.png"/><Relationship Id="rId21" Type="http://schemas.openxmlformats.org/officeDocument/2006/relationships/image" Target="../media/image40.pn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17" Type="http://schemas.openxmlformats.org/officeDocument/2006/relationships/image" Target="../media/image36.png"/><Relationship Id="rId25" Type="http://schemas.openxmlformats.org/officeDocument/2006/relationships/image" Target="../media/image44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35.png"/><Relationship Id="rId20" Type="http://schemas.openxmlformats.org/officeDocument/2006/relationships/image" Target="../media/image39.png"/><Relationship Id="rId29" Type="http://schemas.openxmlformats.org/officeDocument/2006/relationships/image" Target="../media/image4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24" Type="http://schemas.openxmlformats.org/officeDocument/2006/relationships/image" Target="../media/image43.png"/><Relationship Id="rId32" Type="http://schemas.openxmlformats.org/officeDocument/2006/relationships/image" Target="../media/image16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23" Type="http://schemas.openxmlformats.org/officeDocument/2006/relationships/image" Target="../media/image42.png"/><Relationship Id="rId28" Type="http://schemas.openxmlformats.org/officeDocument/2006/relationships/image" Target="../media/image47.png"/><Relationship Id="rId10" Type="http://schemas.openxmlformats.org/officeDocument/2006/relationships/image" Target="../media/image29.png"/><Relationship Id="rId19" Type="http://schemas.openxmlformats.org/officeDocument/2006/relationships/image" Target="../media/image38.png"/><Relationship Id="rId31" Type="http://schemas.openxmlformats.org/officeDocument/2006/relationships/image" Target="../media/image50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Relationship Id="rId14" Type="http://schemas.openxmlformats.org/officeDocument/2006/relationships/image" Target="../media/image33.png"/><Relationship Id="rId22" Type="http://schemas.openxmlformats.org/officeDocument/2006/relationships/image" Target="../media/image41.png"/><Relationship Id="rId27" Type="http://schemas.openxmlformats.org/officeDocument/2006/relationships/image" Target="../media/image46.png"/><Relationship Id="rId30" Type="http://schemas.openxmlformats.org/officeDocument/2006/relationships/image" Target="../media/image4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6.png"/><Relationship Id="rId4" Type="http://schemas.openxmlformats.org/officeDocument/2006/relationships/image" Target="../media/image52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8.xml"/><Relationship Id="rId5" Type="http://schemas.openxmlformats.org/officeDocument/2006/relationships/image" Target="../media/image16.png"/><Relationship Id="rId4" Type="http://schemas.openxmlformats.org/officeDocument/2006/relationships/image" Target="../media/image54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1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2000"/>
              </a:lnSpc>
              <a:spcBef>
                <a:spcPts val="100"/>
              </a:spcBef>
            </a:pPr>
            <a:r>
              <a:rPr b="0" spc="-10" dirty="0">
                <a:solidFill>
                  <a:srgbClr val="023E80"/>
                </a:solidFill>
                <a:latin typeface="Calibri Light"/>
                <a:cs typeface="Calibri Light"/>
              </a:rPr>
              <a:t>Commonwealth</a:t>
            </a:r>
            <a:r>
              <a:rPr b="0" spc="-204" dirty="0">
                <a:solidFill>
                  <a:srgbClr val="023E80"/>
                </a:solidFill>
                <a:latin typeface="Calibri Light"/>
                <a:cs typeface="Calibri Light"/>
              </a:rPr>
              <a:t> </a:t>
            </a:r>
            <a:r>
              <a:rPr b="0" spc="45" dirty="0">
                <a:solidFill>
                  <a:srgbClr val="023E80"/>
                </a:solidFill>
                <a:latin typeface="Calibri Light"/>
                <a:cs typeface="Calibri Light"/>
              </a:rPr>
              <a:t>of</a:t>
            </a:r>
            <a:r>
              <a:rPr b="0" spc="-105" dirty="0">
                <a:solidFill>
                  <a:srgbClr val="023E80"/>
                </a:solidFill>
                <a:latin typeface="Calibri Light"/>
                <a:cs typeface="Calibri Light"/>
              </a:rPr>
              <a:t> </a:t>
            </a:r>
            <a:r>
              <a:rPr b="0" spc="-25" dirty="0">
                <a:solidFill>
                  <a:srgbClr val="023E80"/>
                </a:solidFill>
                <a:latin typeface="Calibri Light"/>
                <a:cs typeface="Calibri Light"/>
              </a:rPr>
              <a:t>Pennsylvania </a:t>
            </a:r>
            <a:r>
              <a:rPr b="0" dirty="0">
                <a:solidFill>
                  <a:srgbClr val="023E80"/>
                </a:solidFill>
                <a:latin typeface="Calibri Light"/>
                <a:cs typeface="Calibri Light"/>
              </a:rPr>
              <a:t>Department</a:t>
            </a:r>
            <a:r>
              <a:rPr b="0" spc="-45" dirty="0">
                <a:solidFill>
                  <a:srgbClr val="023E80"/>
                </a:solidFill>
                <a:latin typeface="Calibri Light"/>
                <a:cs typeface="Calibri Light"/>
              </a:rPr>
              <a:t> </a:t>
            </a:r>
            <a:r>
              <a:rPr b="0" dirty="0">
                <a:solidFill>
                  <a:srgbClr val="023E80"/>
                </a:solidFill>
                <a:latin typeface="Calibri Light"/>
                <a:cs typeface="Calibri Light"/>
              </a:rPr>
              <a:t>of</a:t>
            </a:r>
            <a:r>
              <a:rPr b="0" spc="-35" dirty="0">
                <a:solidFill>
                  <a:srgbClr val="023E80"/>
                </a:solidFill>
                <a:latin typeface="Calibri Light"/>
                <a:cs typeface="Calibri Light"/>
              </a:rPr>
              <a:t> </a:t>
            </a:r>
            <a:r>
              <a:rPr b="0" spc="-10" dirty="0">
                <a:solidFill>
                  <a:srgbClr val="023E80"/>
                </a:solidFill>
                <a:latin typeface="Calibri Light"/>
                <a:cs typeface="Calibri Light"/>
              </a:rPr>
              <a:t>Education</a:t>
            </a:r>
          </a:p>
        </p:txBody>
      </p:sp>
      <p:grpSp>
        <p:nvGrpSpPr>
          <p:cNvPr id="3" name="objec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724525" y="0"/>
            <a:ext cx="6457950" cy="6858000"/>
            <a:chOff x="5724525" y="0"/>
            <a:chExt cx="6457950" cy="6858000"/>
          </a:xfrm>
        </p:grpSpPr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724525" y="0"/>
              <a:ext cx="6457708" cy="6858000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820150" y="2371725"/>
              <a:ext cx="2114550" cy="2114550"/>
            </a:xfrm>
            <a:prstGeom prst="rect">
              <a:avLst/>
            </a:prstGeom>
          </p:spPr>
        </p:pic>
      </p:grpSp>
      <p:sp>
        <p:nvSpPr>
          <p:cNvPr id="6" name="object 6"/>
          <p:cNvSpPr txBox="1">
            <a:spLocks noGrp="1"/>
          </p:cNvSpPr>
          <p:nvPr>
            <p:ph type="subTitle" idx="4"/>
          </p:nvPr>
        </p:nvSpPr>
        <p:spPr>
          <a:xfrm>
            <a:off x="304800" y="3429000"/>
            <a:ext cx="5286375" cy="255666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2000"/>
              </a:lnSpc>
              <a:spcBef>
                <a:spcPts val="100"/>
              </a:spcBef>
            </a:pPr>
            <a:r>
              <a:rPr lang="en-US" sz="32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quering Monitoring: </a:t>
            </a:r>
            <a:r>
              <a:rPr lang="en-US" sz="3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</a:t>
            </a:r>
            <a:r>
              <a:rPr lang="en-US" sz="32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ading Practices for Improving your LEA’s Processes</a:t>
            </a:r>
          </a:p>
          <a:p>
            <a:pPr marL="12700" marR="5080">
              <a:lnSpc>
                <a:spcPct val="112000"/>
              </a:lnSpc>
              <a:spcBef>
                <a:spcPts val="100"/>
              </a:spcBef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3 PAFPC Conference</a:t>
            </a:r>
            <a:endParaRPr sz="2000" dirty="0">
              <a:solidFill>
                <a:schemeClr val="tx1">
                  <a:lumMod val="50000"/>
                  <a:lumOff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FFEF450-C040-4C8D-8820-088F457B510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85800" y="914400"/>
            <a:ext cx="9296400" cy="225742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ading Practices</a:t>
            </a:r>
          </a:p>
        </p:txBody>
      </p:sp>
    </p:spTree>
    <p:extLst>
      <p:ext uri="{BB962C8B-B14F-4D97-AF65-F5344CB8AC3E}">
        <p14:creationId xmlns:p14="http://schemas.microsoft.com/office/powerpoint/2010/main" val="116450547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bject 4">
            <a:extLst>
              <a:ext uri="{FF2B5EF4-FFF2-40B4-BE49-F238E27FC236}">
                <a16:creationId xmlns:a16="http://schemas.microsoft.com/office/drawing/2014/main" id="{C8B7CC13-64BC-48BD-B886-3C0CEDCE0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436727" y="1757215"/>
            <a:ext cx="3136392" cy="509473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object 3">
            <a:extLst>
              <a:ext uri="{FF2B5EF4-FFF2-40B4-BE49-F238E27FC236}">
                <a16:creationId xmlns:a16="http://schemas.microsoft.com/office/drawing/2014/main" id="{1B152FB4-6B75-4D95-BBB8-7550A52C8B0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50593" y="300688"/>
            <a:ext cx="10745725" cy="64248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29209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ading Practices: What Successful LEAs Are Doing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actices you can implement up front to save you time (and grant funding) in the long run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2" name="object 6">
            <a:extLst>
              <a:ext uri="{FF2B5EF4-FFF2-40B4-BE49-F238E27FC236}">
                <a16:creationId xmlns:a16="http://schemas.microsoft.com/office/drawing/2014/main" id="{5EFC4085-2804-48FD-A7F2-3753B41CC66E}"/>
              </a:ext>
            </a:extLst>
          </p:cNvPr>
          <p:cNvSpPr txBox="1"/>
          <p:nvPr/>
        </p:nvSpPr>
        <p:spPr>
          <a:xfrm>
            <a:off x="3311278" y="4963066"/>
            <a:ext cx="2011680" cy="17055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35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Recordkeep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Maintaining organized records of required documentation, from procurement to cost tracking to equipment management </a:t>
            </a:r>
          </a:p>
        </p:txBody>
      </p:sp>
      <p:sp>
        <p:nvSpPr>
          <p:cNvPr id="43" name="object 7">
            <a:extLst>
              <a:ext uri="{FF2B5EF4-FFF2-40B4-BE49-F238E27FC236}">
                <a16:creationId xmlns:a16="http://schemas.microsoft.com/office/drawing/2014/main" id="{E0C84C94-8357-45C4-A1B4-9C0677181178}"/>
              </a:ext>
            </a:extLst>
          </p:cNvPr>
          <p:cNvSpPr txBox="1"/>
          <p:nvPr/>
        </p:nvSpPr>
        <p:spPr>
          <a:xfrm>
            <a:off x="6501879" y="4963066"/>
            <a:ext cx="2011680" cy="178253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7145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-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Policies and Procedures</a:t>
            </a:r>
          </a:p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Reviewing </a:t>
            </a:r>
            <a:r>
              <a:rPr lang="en-US" sz="1500" kern="1200" dirty="0">
                <a:solidFill>
                  <a:prstClr val="black"/>
                </a:solidFill>
                <a:latin typeface="Open Sans"/>
                <a:ea typeface="+mn-ea"/>
                <a:cs typeface="Open Sans"/>
              </a:rPr>
              <a:t>and training employees regularly while also a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ligning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 procedures </a:t>
            </a:r>
            <a:b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</a:b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+mn-ea"/>
                <a:cs typeface="Open Sans"/>
              </a:rPr>
              <a:t>to policies</a:t>
            </a:r>
          </a:p>
        </p:txBody>
      </p:sp>
      <p:sp>
        <p:nvSpPr>
          <p:cNvPr id="64" name="Diagonal Stripe 63">
            <a:extLst>
              <a:ext uri="{FF2B5EF4-FFF2-40B4-BE49-F238E27FC236}">
                <a16:creationId xmlns:a16="http://schemas.microsoft.com/office/drawing/2014/main" id="{D2D75E43-A7A2-4100-B4E5-FC1E17D974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50989" y="3458315"/>
            <a:ext cx="1770063" cy="1770063"/>
          </a:xfrm>
          <a:prstGeom prst="diagStrip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rtlCol="0" anchor="ctr">
            <a:noAutofit/>
          </a:bodyPr>
          <a:lstStyle/>
          <a:p>
            <a:pPr algn="ctr"/>
            <a:endParaRPr lang="en-US" sz="1138" err="1">
              <a:solidFill>
                <a:schemeClr val="tx2"/>
              </a:solidFill>
            </a:endParaRPr>
          </a:p>
        </p:txBody>
      </p:sp>
      <p:sp>
        <p:nvSpPr>
          <p:cNvPr id="65" name="Diagonal Stripe 64">
            <a:extLst>
              <a:ext uri="{FF2B5EF4-FFF2-40B4-BE49-F238E27FC236}">
                <a16:creationId xmlns:a16="http://schemas.microsoft.com/office/drawing/2014/main" id="{D507D980-380D-4262-8196-F0B33726EE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V="1">
            <a:off x="6050989" y="1609034"/>
            <a:ext cx="1770063" cy="1770063"/>
          </a:xfrm>
          <a:prstGeom prst="diagStripe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rtlCol="0" anchor="ctr">
            <a:noAutofit/>
          </a:bodyPr>
          <a:lstStyle/>
          <a:p>
            <a:pPr algn="ctr"/>
            <a:endParaRPr lang="en-US" sz="1138" err="1">
              <a:solidFill>
                <a:schemeClr val="tx2"/>
              </a:solidFill>
            </a:endParaRPr>
          </a:p>
        </p:txBody>
      </p:sp>
      <p:sp>
        <p:nvSpPr>
          <p:cNvPr id="66" name="Graphic 4">
            <a:extLst>
              <a:ext uri="{FF2B5EF4-FFF2-40B4-BE49-F238E27FC236}">
                <a16:creationId xmlns:a16="http://schemas.microsoft.com/office/drawing/2014/main" id="{495E1135-440F-47E4-A8D7-6F05DBA16A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922582" y="3053789"/>
            <a:ext cx="740516" cy="739817"/>
          </a:xfrm>
          <a:custGeom>
            <a:avLst/>
            <a:gdLst>
              <a:gd name="connsiteX0" fmla="*/ 181474 w 362313"/>
              <a:gd name="connsiteY0" fmla="*/ 0 h 361971"/>
              <a:gd name="connsiteX1" fmla="*/ 0 w 362313"/>
              <a:gd name="connsiteY1" fmla="*/ 180667 h 361971"/>
              <a:gd name="connsiteX2" fmla="*/ 180835 w 362313"/>
              <a:gd name="connsiteY2" fmla="*/ 361972 h 361971"/>
              <a:gd name="connsiteX3" fmla="*/ 362309 w 362313"/>
              <a:gd name="connsiteY3" fmla="*/ 181305 h 361971"/>
              <a:gd name="connsiteX4" fmla="*/ 362309 w 362313"/>
              <a:gd name="connsiteY4" fmla="*/ 181305 h 361971"/>
              <a:gd name="connsiteX5" fmla="*/ 181474 w 362313"/>
              <a:gd name="connsiteY5" fmla="*/ 0 h 361971"/>
              <a:gd name="connsiteX6" fmla="*/ 181474 w 362313"/>
              <a:gd name="connsiteY6" fmla="*/ 0 h 361971"/>
              <a:gd name="connsiteX7" fmla="*/ 181474 w 362313"/>
              <a:gd name="connsiteY7" fmla="*/ 349204 h 361971"/>
              <a:gd name="connsiteX8" fmla="*/ 12780 w 362313"/>
              <a:gd name="connsiteY8" fmla="*/ 181305 h 361971"/>
              <a:gd name="connsiteX9" fmla="*/ 180835 w 362313"/>
              <a:gd name="connsiteY9" fmla="*/ 12768 h 361971"/>
              <a:gd name="connsiteX10" fmla="*/ 349529 w 362313"/>
              <a:gd name="connsiteY10" fmla="*/ 180667 h 361971"/>
              <a:gd name="connsiteX11" fmla="*/ 349529 w 362313"/>
              <a:gd name="connsiteY11" fmla="*/ 180667 h 361971"/>
              <a:gd name="connsiteX12" fmla="*/ 181474 w 362313"/>
              <a:gd name="connsiteY12" fmla="*/ 349204 h 361971"/>
              <a:gd name="connsiteX13" fmla="*/ 181474 w 362313"/>
              <a:gd name="connsiteY13" fmla="*/ 349204 h 361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62313" h="361971">
                <a:moveTo>
                  <a:pt x="181474" y="0"/>
                </a:moveTo>
                <a:cubicBezTo>
                  <a:pt x="81152" y="0"/>
                  <a:pt x="0" y="81077"/>
                  <a:pt x="0" y="180667"/>
                </a:cubicBezTo>
                <a:cubicBezTo>
                  <a:pt x="0" y="280895"/>
                  <a:pt x="81152" y="361972"/>
                  <a:pt x="180835" y="361972"/>
                </a:cubicBezTo>
                <a:cubicBezTo>
                  <a:pt x="281157" y="361972"/>
                  <a:pt x="362309" y="280895"/>
                  <a:pt x="362309" y="181305"/>
                </a:cubicBezTo>
                <a:cubicBezTo>
                  <a:pt x="362309" y="181305"/>
                  <a:pt x="362309" y="181305"/>
                  <a:pt x="362309" y="181305"/>
                </a:cubicBezTo>
                <a:cubicBezTo>
                  <a:pt x="362948" y="81077"/>
                  <a:pt x="281796" y="0"/>
                  <a:pt x="181474" y="0"/>
                </a:cubicBezTo>
                <a:lnTo>
                  <a:pt x="181474" y="0"/>
                </a:lnTo>
                <a:close/>
                <a:moveTo>
                  <a:pt x="181474" y="349204"/>
                </a:moveTo>
                <a:cubicBezTo>
                  <a:pt x="88181" y="349204"/>
                  <a:pt x="12780" y="273873"/>
                  <a:pt x="12780" y="181305"/>
                </a:cubicBezTo>
                <a:cubicBezTo>
                  <a:pt x="12780" y="88099"/>
                  <a:pt x="88181" y="12768"/>
                  <a:pt x="180835" y="12768"/>
                </a:cubicBezTo>
                <a:cubicBezTo>
                  <a:pt x="274128" y="12768"/>
                  <a:pt x="349529" y="88099"/>
                  <a:pt x="349529" y="180667"/>
                </a:cubicBezTo>
                <a:cubicBezTo>
                  <a:pt x="349529" y="180667"/>
                  <a:pt x="349529" y="180667"/>
                  <a:pt x="349529" y="180667"/>
                </a:cubicBezTo>
                <a:cubicBezTo>
                  <a:pt x="350168" y="273873"/>
                  <a:pt x="274767" y="349204"/>
                  <a:pt x="181474" y="349204"/>
                </a:cubicBezTo>
                <a:lnTo>
                  <a:pt x="181474" y="349204"/>
                </a:lnTo>
                <a:close/>
              </a:path>
            </a:pathLst>
          </a:custGeom>
          <a:solidFill>
            <a:srgbClr val="046A38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7" name="Graphic 4">
            <a:extLst>
              <a:ext uri="{FF2B5EF4-FFF2-40B4-BE49-F238E27FC236}">
                <a16:creationId xmlns:a16="http://schemas.microsoft.com/office/drawing/2014/main" id="{EC984BE5-3C81-4191-964C-B9F9B98F2E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69978" y="3262555"/>
            <a:ext cx="425758" cy="322284"/>
          </a:xfrm>
          <a:custGeom>
            <a:avLst/>
            <a:gdLst>
              <a:gd name="connsiteX0" fmla="*/ 197449 w 208311"/>
              <a:gd name="connsiteY0" fmla="*/ 1915 h 157684"/>
              <a:gd name="connsiteX1" fmla="*/ 56870 w 208311"/>
              <a:gd name="connsiteY1" fmla="*/ 142363 h 157684"/>
              <a:gd name="connsiteX2" fmla="*/ 10863 w 208311"/>
              <a:gd name="connsiteY2" fmla="*/ 96398 h 157684"/>
              <a:gd name="connsiteX3" fmla="*/ 1917 w 208311"/>
              <a:gd name="connsiteY3" fmla="*/ 96398 h 157684"/>
              <a:gd name="connsiteX4" fmla="*/ 1917 w 208311"/>
              <a:gd name="connsiteY4" fmla="*/ 105336 h 157684"/>
              <a:gd name="connsiteX5" fmla="*/ 1917 w 208311"/>
              <a:gd name="connsiteY5" fmla="*/ 105336 h 157684"/>
              <a:gd name="connsiteX6" fmla="*/ 52397 w 208311"/>
              <a:gd name="connsiteY6" fmla="*/ 155769 h 157684"/>
              <a:gd name="connsiteX7" fmla="*/ 56870 w 208311"/>
              <a:gd name="connsiteY7" fmla="*/ 157684 h 157684"/>
              <a:gd name="connsiteX8" fmla="*/ 61343 w 208311"/>
              <a:gd name="connsiteY8" fmla="*/ 155769 h 157684"/>
              <a:gd name="connsiteX9" fmla="*/ 206395 w 208311"/>
              <a:gd name="connsiteY9" fmla="*/ 10853 h 157684"/>
              <a:gd name="connsiteX10" fmla="*/ 206395 w 208311"/>
              <a:gd name="connsiteY10" fmla="*/ 1915 h 157684"/>
              <a:gd name="connsiteX11" fmla="*/ 197449 w 208311"/>
              <a:gd name="connsiteY11" fmla="*/ 1915 h 157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8311" h="157684">
                <a:moveTo>
                  <a:pt x="197449" y="1915"/>
                </a:moveTo>
                <a:lnTo>
                  <a:pt x="56870" y="142363"/>
                </a:lnTo>
                <a:lnTo>
                  <a:pt x="10863" y="96398"/>
                </a:lnTo>
                <a:cubicBezTo>
                  <a:pt x="8307" y="93845"/>
                  <a:pt x="4473" y="93845"/>
                  <a:pt x="1917" y="96398"/>
                </a:cubicBezTo>
                <a:cubicBezTo>
                  <a:pt x="-639" y="98952"/>
                  <a:pt x="-639" y="102782"/>
                  <a:pt x="1917" y="105336"/>
                </a:cubicBezTo>
                <a:lnTo>
                  <a:pt x="1917" y="105336"/>
                </a:lnTo>
                <a:lnTo>
                  <a:pt x="52397" y="155769"/>
                </a:lnTo>
                <a:cubicBezTo>
                  <a:pt x="53675" y="157046"/>
                  <a:pt x="54953" y="157684"/>
                  <a:pt x="56870" y="157684"/>
                </a:cubicBezTo>
                <a:cubicBezTo>
                  <a:pt x="58787" y="157684"/>
                  <a:pt x="60065" y="157046"/>
                  <a:pt x="61343" y="155769"/>
                </a:cubicBezTo>
                <a:lnTo>
                  <a:pt x="206395" y="10853"/>
                </a:lnTo>
                <a:cubicBezTo>
                  <a:pt x="208951" y="8299"/>
                  <a:pt x="208951" y="4469"/>
                  <a:pt x="206395" y="1915"/>
                </a:cubicBezTo>
                <a:cubicBezTo>
                  <a:pt x="204478" y="-638"/>
                  <a:pt x="200005" y="-638"/>
                  <a:pt x="197449" y="1915"/>
                </a:cubicBezTo>
                <a:close/>
              </a:path>
            </a:pathLst>
          </a:custGeom>
          <a:solidFill>
            <a:srgbClr val="046A38"/>
          </a:solidFill>
          <a:ln w="63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C0DAFF1-5914-4A98-9274-C45D8B75FB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flipH="1">
            <a:off x="4108402" y="1609034"/>
            <a:ext cx="1931364" cy="3619344"/>
            <a:chOff x="2224012" y="1609034"/>
            <a:chExt cx="1931364" cy="3619344"/>
          </a:xfrm>
        </p:grpSpPr>
        <p:sp>
          <p:nvSpPr>
            <p:cNvPr id="69" name="Diagonal Stripe 68">
              <a:extLst>
                <a:ext uri="{FF2B5EF4-FFF2-40B4-BE49-F238E27FC236}">
                  <a16:creationId xmlns:a16="http://schemas.microsoft.com/office/drawing/2014/main" id="{E87EE50A-FDF8-42FA-870A-E2503C3B3D27}"/>
                </a:ext>
              </a:extLst>
            </p:cNvPr>
            <p:cNvSpPr/>
            <p:nvPr/>
          </p:nvSpPr>
          <p:spPr>
            <a:xfrm>
              <a:off x="2385313" y="3458315"/>
              <a:ext cx="1770063" cy="1770063"/>
            </a:xfrm>
            <a:prstGeom prst="diagStripe">
              <a:avLst/>
            </a:pr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  <p:sp>
          <p:nvSpPr>
            <p:cNvPr id="70" name="Diagonal Stripe 69">
              <a:extLst>
                <a:ext uri="{FF2B5EF4-FFF2-40B4-BE49-F238E27FC236}">
                  <a16:creationId xmlns:a16="http://schemas.microsoft.com/office/drawing/2014/main" id="{9C8EE5EA-52BE-4460-9A83-8E69FD510951}"/>
                </a:ext>
              </a:extLst>
            </p:cNvPr>
            <p:cNvSpPr/>
            <p:nvPr/>
          </p:nvSpPr>
          <p:spPr>
            <a:xfrm flipV="1">
              <a:off x="2385313" y="1609034"/>
              <a:ext cx="1770063" cy="1770063"/>
            </a:xfrm>
            <a:prstGeom prst="diagStripe">
              <a:avLst/>
            </a:prstGeom>
            <a:solidFill>
              <a:schemeClr val="accent4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295" tIns="74295" rIns="74295" bIns="74295" rtlCol="0" anchor="ctr">
              <a:noAutofit/>
            </a:bodyPr>
            <a:lstStyle/>
            <a:p>
              <a:pPr algn="ctr"/>
              <a:endParaRPr lang="en-US" sz="1138" err="1">
                <a:solidFill>
                  <a:schemeClr val="tx2"/>
                </a:solidFill>
              </a:endParaRPr>
            </a:p>
          </p:txBody>
        </p:sp>
        <p:grpSp>
          <p:nvGrpSpPr>
            <p:cNvPr id="71" name="Graphic 4">
              <a:extLst>
                <a:ext uri="{FF2B5EF4-FFF2-40B4-BE49-F238E27FC236}">
                  <a16:creationId xmlns:a16="http://schemas.microsoft.com/office/drawing/2014/main" id="{DF6A7335-1E6B-455B-8D9A-9959537C814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224012" y="3053430"/>
              <a:ext cx="740509" cy="741124"/>
              <a:chOff x="467104" y="1885990"/>
              <a:chExt cx="362309" cy="362610"/>
            </a:xfrm>
            <a:solidFill>
              <a:srgbClr val="012169"/>
            </a:solidFill>
          </p:grpSpPr>
          <p:sp>
            <p:nvSpPr>
              <p:cNvPr id="72" name="Graphic 4">
                <a:extLst>
                  <a:ext uri="{FF2B5EF4-FFF2-40B4-BE49-F238E27FC236}">
                    <a16:creationId xmlns:a16="http://schemas.microsoft.com/office/drawing/2014/main" id="{78340FAD-37CB-467C-9329-B9DF9D9AC924}"/>
                  </a:ext>
                </a:extLst>
              </p:cNvPr>
              <p:cNvSpPr/>
              <p:nvPr/>
            </p:nvSpPr>
            <p:spPr>
              <a:xfrm>
                <a:off x="467104" y="1885990"/>
                <a:ext cx="362309" cy="362610"/>
              </a:xfrm>
              <a:custGeom>
                <a:avLst/>
                <a:gdLst>
                  <a:gd name="connsiteX0" fmla="*/ 181474 w 362309"/>
                  <a:gd name="connsiteY0" fmla="*/ 0 h 362610"/>
                  <a:gd name="connsiteX1" fmla="*/ 0 w 362309"/>
                  <a:gd name="connsiteY1" fmla="*/ 181305 h 362610"/>
                  <a:gd name="connsiteX2" fmla="*/ 181474 w 362309"/>
                  <a:gd name="connsiteY2" fmla="*/ 362610 h 362610"/>
                  <a:gd name="connsiteX3" fmla="*/ 362309 w 362309"/>
                  <a:gd name="connsiteY3" fmla="*/ 181305 h 362610"/>
                  <a:gd name="connsiteX4" fmla="*/ 181474 w 362309"/>
                  <a:gd name="connsiteY4" fmla="*/ 0 h 362610"/>
                  <a:gd name="connsiteX5" fmla="*/ 181474 w 362309"/>
                  <a:gd name="connsiteY5" fmla="*/ 0 h 362610"/>
                  <a:gd name="connsiteX6" fmla="*/ 181474 w 362309"/>
                  <a:gd name="connsiteY6" fmla="*/ 348565 h 362610"/>
                  <a:gd name="connsiteX7" fmla="*/ 13419 w 362309"/>
                  <a:gd name="connsiteY7" fmla="*/ 180028 h 362610"/>
                  <a:gd name="connsiteX8" fmla="*/ 181474 w 362309"/>
                  <a:gd name="connsiteY8" fmla="*/ 11491 h 362610"/>
                  <a:gd name="connsiteX9" fmla="*/ 349530 w 362309"/>
                  <a:gd name="connsiteY9" fmla="*/ 180028 h 362610"/>
                  <a:gd name="connsiteX10" fmla="*/ 349530 w 362309"/>
                  <a:gd name="connsiteY10" fmla="*/ 180028 h 362610"/>
                  <a:gd name="connsiteX11" fmla="*/ 181474 w 362309"/>
                  <a:gd name="connsiteY11" fmla="*/ 348565 h 362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62309" h="362610">
                    <a:moveTo>
                      <a:pt x="181474" y="0"/>
                    </a:moveTo>
                    <a:cubicBezTo>
                      <a:pt x="81152" y="0"/>
                      <a:pt x="0" y="81077"/>
                      <a:pt x="0" y="181305"/>
                    </a:cubicBezTo>
                    <a:cubicBezTo>
                      <a:pt x="0" y="281534"/>
                      <a:pt x="81152" y="362610"/>
                      <a:pt x="181474" y="362610"/>
                    </a:cubicBezTo>
                    <a:cubicBezTo>
                      <a:pt x="281796" y="362610"/>
                      <a:pt x="362309" y="281534"/>
                      <a:pt x="362309" y="181305"/>
                    </a:cubicBezTo>
                    <a:cubicBezTo>
                      <a:pt x="362309" y="80438"/>
                      <a:pt x="281796" y="0"/>
                      <a:pt x="181474" y="0"/>
                    </a:cubicBezTo>
                    <a:cubicBezTo>
                      <a:pt x="181474" y="0"/>
                      <a:pt x="181474" y="0"/>
                      <a:pt x="181474" y="0"/>
                    </a:cubicBezTo>
                    <a:close/>
                    <a:moveTo>
                      <a:pt x="181474" y="348565"/>
                    </a:moveTo>
                    <a:cubicBezTo>
                      <a:pt x="88181" y="348565"/>
                      <a:pt x="13419" y="273235"/>
                      <a:pt x="13419" y="180028"/>
                    </a:cubicBezTo>
                    <a:cubicBezTo>
                      <a:pt x="13419" y="86822"/>
                      <a:pt x="88820" y="11491"/>
                      <a:pt x="181474" y="11491"/>
                    </a:cubicBezTo>
                    <a:cubicBezTo>
                      <a:pt x="274128" y="11491"/>
                      <a:pt x="349530" y="86822"/>
                      <a:pt x="349530" y="180028"/>
                    </a:cubicBezTo>
                    <a:cubicBezTo>
                      <a:pt x="349530" y="180028"/>
                      <a:pt x="349530" y="180028"/>
                      <a:pt x="349530" y="180028"/>
                    </a:cubicBezTo>
                    <a:cubicBezTo>
                      <a:pt x="349530" y="273235"/>
                      <a:pt x="274128" y="348565"/>
                      <a:pt x="181474" y="348565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8" name="Graphic 4">
                <a:extLst>
                  <a:ext uri="{FF2B5EF4-FFF2-40B4-BE49-F238E27FC236}">
                    <a16:creationId xmlns:a16="http://schemas.microsoft.com/office/drawing/2014/main" id="{DF3C4DD0-A663-4E2A-B83A-2A8B3C8D655A}"/>
                  </a:ext>
                </a:extLst>
              </p:cNvPr>
              <p:cNvSpPr/>
              <p:nvPr/>
            </p:nvSpPr>
            <p:spPr>
              <a:xfrm>
                <a:off x="539949" y="1979835"/>
                <a:ext cx="217257" cy="173005"/>
              </a:xfrm>
              <a:custGeom>
                <a:avLst/>
                <a:gdLst>
                  <a:gd name="connsiteX0" fmla="*/ 210868 w 217257"/>
                  <a:gd name="connsiteY0" fmla="*/ 0 h 173005"/>
                  <a:gd name="connsiteX1" fmla="*/ 6390 w 217257"/>
                  <a:gd name="connsiteY1" fmla="*/ 0 h 173005"/>
                  <a:gd name="connsiteX2" fmla="*/ 0 w 217257"/>
                  <a:gd name="connsiteY2" fmla="*/ 6384 h 173005"/>
                  <a:gd name="connsiteX3" fmla="*/ 0 w 217257"/>
                  <a:gd name="connsiteY3" fmla="*/ 35750 h 173005"/>
                  <a:gd name="connsiteX4" fmla="*/ 6390 w 217257"/>
                  <a:gd name="connsiteY4" fmla="*/ 42134 h 173005"/>
                  <a:gd name="connsiteX5" fmla="*/ 14697 w 217257"/>
                  <a:gd name="connsiteY5" fmla="*/ 42134 h 173005"/>
                  <a:gd name="connsiteX6" fmla="*/ 14697 w 217257"/>
                  <a:gd name="connsiteY6" fmla="*/ 166622 h 173005"/>
                  <a:gd name="connsiteX7" fmla="*/ 21087 w 217257"/>
                  <a:gd name="connsiteY7" fmla="*/ 173006 h 173005"/>
                  <a:gd name="connsiteX8" fmla="*/ 196171 w 217257"/>
                  <a:gd name="connsiteY8" fmla="*/ 173006 h 173005"/>
                  <a:gd name="connsiteX9" fmla="*/ 202561 w 217257"/>
                  <a:gd name="connsiteY9" fmla="*/ 166622 h 173005"/>
                  <a:gd name="connsiteX10" fmla="*/ 202561 w 217257"/>
                  <a:gd name="connsiteY10" fmla="*/ 42134 h 173005"/>
                  <a:gd name="connsiteX11" fmla="*/ 210868 w 217257"/>
                  <a:gd name="connsiteY11" fmla="*/ 42134 h 173005"/>
                  <a:gd name="connsiteX12" fmla="*/ 217258 w 217257"/>
                  <a:gd name="connsiteY12" fmla="*/ 35750 h 173005"/>
                  <a:gd name="connsiteX13" fmla="*/ 217258 w 217257"/>
                  <a:gd name="connsiteY13" fmla="*/ 6384 h 173005"/>
                  <a:gd name="connsiteX14" fmla="*/ 210868 w 217257"/>
                  <a:gd name="connsiteY14" fmla="*/ 0 h 173005"/>
                  <a:gd name="connsiteX15" fmla="*/ 189781 w 217257"/>
                  <a:gd name="connsiteY15" fmla="*/ 160876 h 173005"/>
                  <a:gd name="connsiteX16" fmla="*/ 27477 w 217257"/>
                  <a:gd name="connsiteY16" fmla="*/ 160876 h 173005"/>
                  <a:gd name="connsiteX17" fmla="*/ 27477 w 217257"/>
                  <a:gd name="connsiteY17" fmla="*/ 42134 h 173005"/>
                  <a:gd name="connsiteX18" fmla="*/ 189781 w 217257"/>
                  <a:gd name="connsiteY18" fmla="*/ 42134 h 173005"/>
                  <a:gd name="connsiteX19" fmla="*/ 189781 w 217257"/>
                  <a:gd name="connsiteY19" fmla="*/ 160876 h 173005"/>
                  <a:gd name="connsiteX20" fmla="*/ 204478 w 217257"/>
                  <a:gd name="connsiteY20" fmla="*/ 29366 h 173005"/>
                  <a:gd name="connsiteX21" fmla="*/ 12780 w 217257"/>
                  <a:gd name="connsiteY21" fmla="*/ 29366 h 173005"/>
                  <a:gd name="connsiteX22" fmla="*/ 12780 w 217257"/>
                  <a:gd name="connsiteY22" fmla="*/ 12768 h 173005"/>
                  <a:gd name="connsiteX23" fmla="*/ 204478 w 217257"/>
                  <a:gd name="connsiteY23" fmla="*/ 12768 h 173005"/>
                  <a:gd name="connsiteX24" fmla="*/ 204478 w 217257"/>
                  <a:gd name="connsiteY24" fmla="*/ 29366 h 173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17257" h="173005">
                    <a:moveTo>
                      <a:pt x="210868" y="0"/>
                    </a:moveTo>
                    <a:lnTo>
                      <a:pt x="6390" y="0"/>
                    </a:lnTo>
                    <a:cubicBezTo>
                      <a:pt x="2556" y="0"/>
                      <a:pt x="0" y="2554"/>
                      <a:pt x="0" y="6384"/>
                    </a:cubicBezTo>
                    <a:lnTo>
                      <a:pt x="0" y="35750"/>
                    </a:lnTo>
                    <a:cubicBezTo>
                      <a:pt x="0" y="39581"/>
                      <a:pt x="2556" y="42134"/>
                      <a:pt x="6390" y="42134"/>
                    </a:cubicBezTo>
                    <a:lnTo>
                      <a:pt x="14697" y="42134"/>
                    </a:lnTo>
                    <a:lnTo>
                      <a:pt x="14697" y="166622"/>
                    </a:lnTo>
                    <a:cubicBezTo>
                      <a:pt x="14697" y="170452"/>
                      <a:pt x="17253" y="173006"/>
                      <a:pt x="21087" y="173006"/>
                    </a:cubicBezTo>
                    <a:lnTo>
                      <a:pt x="196171" y="173006"/>
                    </a:lnTo>
                    <a:cubicBezTo>
                      <a:pt x="200005" y="173006"/>
                      <a:pt x="202561" y="170452"/>
                      <a:pt x="202561" y="166622"/>
                    </a:cubicBezTo>
                    <a:lnTo>
                      <a:pt x="202561" y="42134"/>
                    </a:lnTo>
                    <a:lnTo>
                      <a:pt x="210868" y="42134"/>
                    </a:lnTo>
                    <a:cubicBezTo>
                      <a:pt x="214702" y="42134"/>
                      <a:pt x="217258" y="39581"/>
                      <a:pt x="217258" y="35750"/>
                    </a:cubicBezTo>
                    <a:lnTo>
                      <a:pt x="217258" y="6384"/>
                    </a:lnTo>
                    <a:cubicBezTo>
                      <a:pt x="217258" y="3192"/>
                      <a:pt x="214063" y="638"/>
                      <a:pt x="210868" y="0"/>
                    </a:cubicBezTo>
                    <a:close/>
                    <a:moveTo>
                      <a:pt x="189781" y="160876"/>
                    </a:moveTo>
                    <a:lnTo>
                      <a:pt x="27477" y="160876"/>
                    </a:lnTo>
                    <a:lnTo>
                      <a:pt x="27477" y="42134"/>
                    </a:lnTo>
                    <a:lnTo>
                      <a:pt x="189781" y="42134"/>
                    </a:lnTo>
                    <a:lnTo>
                      <a:pt x="189781" y="160876"/>
                    </a:lnTo>
                    <a:close/>
                    <a:moveTo>
                      <a:pt x="204478" y="29366"/>
                    </a:moveTo>
                    <a:lnTo>
                      <a:pt x="12780" y="29366"/>
                    </a:lnTo>
                    <a:lnTo>
                      <a:pt x="12780" y="12768"/>
                    </a:lnTo>
                    <a:lnTo>
                      <a:pt x="204478" y="12768"/>
                    </a:lnTo>
                    <a:lnTo>
                      <a:pt x="204478" y="29366"/>
                    </a:ln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Graphic 4">
                <a:extLst>
                  <a:ext uri="{FF2B5EF4-FFF2-40B4-BE49-F238E27FC236}">
                    <a16:creationId xmlns:a16="http://schemas.microsoft.com/office/drawing/2014/main" id="{238C0BDD-BCAB-4099-A65F-9A3CA5B00A80}"/>
                  </a:ext>
                </a:extLst>
              </p:cNvPr>
              <p:cNvSpPr/>
              <p:nvPr/>
            </p:nvSpPr>
            <p:spPr>
              <a:xfrm>
                <a:off x="620462" y="2045590"/>
                <a:ext cx="56231" cy="12767"/>
              </a:xfrm>
              <a:custGeom>
                <a:avLst/>
                <a:gdLst>
                  <a:gd name="connsiteX0" fmla="*/ 6390 w 56231"/>
                  <a:gd name="connsiteY0" fmla="*/ 12768 h 12767"/>
                  <a:gd name="connsiteX1" fmla="*/ 49842 w 56231"/>
                  <a:gd name="connsiteY1" fmla="*/ 12768 h 12767"/>
                  <a:gd name="connsiteX2" fmla="*/ 56231 w 56231"/>
                  <a:gd name="connsiteY2" fmla="*/ 6384 h 12767"/>
                  <a:gd name="connsiteX3" fmla="*/ 49842 w 56231"/>
                  <a:gd name="connsiteY3" fmla="*/ 0 h 12767"/>
                  <a:gd name="connsiteX4" fmla="*/ 6390 w 56231"/>
                  <a:gd name="connsiteY4" fmla="*/ 0 h 12767"/>
                  <a:gd name="connsiteX5" fmla="*/ 0 w 56231"/>
                  <a:gd name="connsiteY5" fmla="*/ 6384 h 12767"/>
                  <a:gd name="connsiteX6" fmla="*/ 6390 w 56231"/>
                  <a:gd name="connsiteY6" fmla="*/ 12768 h 12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231" h="12767">
                    <a:moveTo>
                      <a:pt x="6390" y="12768"/>
                    </a:moveTo>
                    <a:lnTo>
                      <a:pt x="49842" y="12768"/>
                    </a:lnTo>
                    <a:cubicBezTo>
                      <a:pt x="53675" y="12768"/>
                      <a:pt x="56231" y="10214"/>
                      <a:pt x="56231" y="6384"/>
                    </a:cubicBezTo>
                    <a:cubicBezTo>
                      <a:pt x="56231" y="2554"/>
                      <a:pt x="53675" y="0"/>
                      <a:pt x="49842" y="0"/>
                    </a:cubicBezTo>
                    <a:lnTo>
                      <a:pt x="6390" y="0"/>
                    </a:lnTo>
                    <a:cubicBezTo>
                      <a:pt x="2556" y="0"/>
                      <a:pt x="0" y="2554"/>
                      <a:pt x="0" y="6384"/>
                    </a:cubicBezTo>
                    <a:cubicBezTo>
                      <a:pt x="0" y="10214"/>
                      <a:pt x="2556" y="12768"/>
                      <a:pt x="6390" y="12768"/>
                    </a:cubicBezTo>
                    <a:close/>
                  </a:path>
                </a:pathLst>
              </a:custGeom>
              <a:grpFill/>
              <a:ln w="63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92" name="object 4">
            <a:extLst>
              <a:ext uri="{FF2B5EF4-FFF2-40B4-BE49-F238E27FC236}">
                <a16:creationId xmlns:a16="http://schemas.microsoft.com/office/drawing/2014/main" id="{4059382A-FEDF-4373-A683-DDC014217C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1350422" y="1757360"/>
            <a:ext cx="3136392" cy="509473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object 3">
            <a:extLst>
              <a:ext uri="{FF2B5EF4-FFF2-40B4-BE49-F238E27FC236}">
                <a16:creationId xmlns:a16="http://schemas.microsoft.com/office/drawing/2014/main" id="{DC1D8538-F5C9-4307-9F26-B4820D16F7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4486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object 3">
            <a:extLst>
              <a:ext uri="{FF2B5EF4-FFF2-40B4-BE49-F238E27FC236}">
                <a16:creationId xmlns:a16="http://schemas.microsoft.com/office/drawing/2014/main" id="{7B944FA9-97A1-4C81-8AF3-248A5D6B5B6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50593" y="300688"/>
            <a:ext cx="10745725" cy="64248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29209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ordkeeping: Keep It Where You Can Retrieve It….Quickly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rganizing support documentation for grant expenditur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Oval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641661" y="1740086"/>
            <a:ext cx="4568535" cy="4568535"/>
          </a:xfrm>
          <a:prstGeom prst="ellips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algn="ctr"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23" name="Flowchart: Process 2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1850108" y="1487300"/>
            <a:ext cx="437090" cy="4966409"/>
          </a:xfrm>
          <a:prstGeom prst="flowChartProcess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algn="ctr"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130" name="Oval 12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2213503" y="1728299"/>
            <a:ext cx="173316" cy="173316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algn="ctr"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131" name="Oval 13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2212529" y="6144140"/>
            <a:ext cx="173316" cy="173316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9050" algn="ctr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algn="ctr"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6FED09-EDE8-450B-912E-4F670F9F8857}"/>
              </a:ext>
            </a:extLst>
          </p:cNvPr>
          <p:cNvSpPr/>
          <p:nvPr/>
        </p:nvSpPr>
        <p:spPr bwMode="gray">
          <a:xfrm>
            <a:off x="1614551" y="1090585"/>
            <a:ext cx="2577785" cy="48501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3200" b="1" dirty="0">
                <a:solidFill>
                  <a:schemeClr val="tx2"/>
                </a:solidFill>
              </a:rPr>
              <a:t>How</a:t>
            </a:r>
          </a:p>
        </p:txBody>
      </p:sp>
      <p:sp>
        <p:nvSpPr>
          <p:cNvPr id="164" name="Rectangle 163"/>
          <p:cNvSpPr/>
          <p:nvPr/>
        </p:nvSpPr>
        <p:spPr>
          <a:xfrm>
            <a:off x="1120138" y="2479911"/>
            <a:ext cx="3525389" cy="33952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42950">
              <a:defRPr/>
            </a:pPr>
            <a:r>
              <a:rPr lang="en-US" sz="2400" b="1" dirty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cumentation and Recordkeeping Leading Practices</a:t>
            </a:r>
          </a:p>
          <a:p>
            <a:pPr algn="ctr" defTabSz="742950">
              <a:lnSpc>
                <a:spcPct val="200000"/>
              </a:lnSpc>
              <a:defRPr/>
            </a:pPr>
            <a:r>
              <a:rPr lang="en-US" sz="1600" b="1" dirty="0">
                <a:solidFill>
                  <a:srgbClr val="00558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lete</a:t>
            </a:r>
          </a:p>
          <a:p>
            <a:pPr algn="ctr" defTabSz="742950">
              <a:lnSpc>
                <a:spcPct val="200000"/>
              </a:lnSpc>
              <a:defRPr/>
            </a:pPr>
            <a:r>
              <a:rPr lang="en-US" sz="1600" b="1" dirty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rganized</a:t>
            </a:r>
          </a:p>
          <a:p>
            <a:pPr algn="ctr" defTabSz="742950">
              <a:lnSpc>
                <a:spcPct val="200000"/>
              </a:lnSpc>
              <a:defRPr/>
            </a:pPr>
            <a:r>
              <a:rPr lang="en-US" sz="1600" b="1" dirty="0">
                <a:solidFill>
                  <a:srgbClr val="0097A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ccurate</a:t>
            </a:r>
          </a:p>
          <a:p>
            <a:pPr algn="ctr" defTabSz="742950">
              <a:lnSpc>
                <a:spcPct val="200000"/>
              </a:lnSpc>
              <a:defRPr/>
            </a:pPr>
            <a:r>
              <a:rPr lang="en-US" sz="1600" b="1" dirty="0">
                <a:solidFill>
                  <a:srgbClr val="00558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adily Available</a:t>
            </a:r>
          </a:p>
          <a:p>
            <a:pPr defTabSz="742950">
              <a:defRPr/>
            </a:pPr>
            <a:endParaRPr lang="en-US" sz="1463" b="1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Double Brace 2" descr="Brackets containing: Complete, Organized, Accurate, Readily Available.">
            <a:extLst>
              <a:ext uri="{FF2B5EF4-FFF2-40B4-BE49-F238E27FC236}">
                <a16:creationId xmlns:a16="http://schemas.microsoft.com/office/drawing/2014/main" id="{2A96DA89-7C95-4637-AE1E-0B03FB1AE347}"/>
              </a:ext>
            </a:extLst>
          </p:cNvPr>
          <p:cNvSpPr/>
          <p:nvPr/>
        </p:nvSpPr>
        <p:spPr>
          <a:xfrm>
            <a:off x="1614551" y="3701326"/>
            <a:ext cx="2464908" cy="2077996"/>
          </a:xfrm>
          <a:prstGeom prst="bracePair">
            <a:avLst/>
          </a:prstGeom>
          <a:ln>
            <a:extLst>
              <a:ext uri="{C807C97D-BFC1-408E-A445-0C87EB9F89A2}">
                <ask:lineSketchStyleProps xmlns:ask="http://schemas.microsoft.com/office/drawing/2018/sketchyshapes" sd="2624517739">
                  <a:custGeom>
                    <a:avLst/>
                    <a:gdLst>
                      <a:gd name="connsiteX0" fmla="*/ 346319 w 3010735"/>
                      <a:gd name="connsiteY0" fmla="*/ 2077996 h 2077996"/>
                      <a:gd name="connsiteX1" fmla="*/ 173160 w 3010735"/>
                      <a:gd name="connsiteY1" fmla="*/ 1904837 h 2077996"/>
                      <a:gd name="connsiteX2" fmla="*/ 173159 w 3010735"/>
                      <a:gd name="connsiteY2" fmla="*/ 1212157 h 2077996"/>
                      <a:gd name="connsiteX3" fmla="*/ 0 w 3010735"/>
                      <a:gd name="connsiteY3" fmla="*/ 1038998 h 2077996"/>
                      <a:gd name="connsiteX4" fmla="*/ 173159 w 3010735"/>
                      <a:gd name="connsiteY4" fmla="*/ 865839 h 2077996"/>
                      <a:gd name="connsiteX5" fmla="*/ 173159 w 3010735"/>
                      <a:gd name="connsiteY5" fmla="*/ 173159 h 2077996"/>
                      <a:gd name="connsiteX6" fmla="*/ 346318 w 3010735"/>
                      <a:gd name="connsiteY6" fmla="*/ 0 h 2077996"/>
                      <a:gd name="connsiteX7" fmla="*/ 902662 w 3010735"/>
                      <a:gd name="connsiteY7" fmla="*/ 0 h 2077996"/>
                      <a:gd name="connsiteX8" fmla="*/ 1435824 w 3010735"/>
                      <a:gd name="connsiteY8" fmla="*/ 0 h 2077996"/>
                      <a:gd name="connsiteX9" fmla="*/ 2038530 w 3010735"/>
                      <a:gd name="connsiteY9" fmla="*/ 0 h 2077996"/>
                      <a:gd name="connsiteX10" fmla="*/ 2664416 w 3010735"/>
                      <a:gd name="connsiteY10" fmla="*/ 0 h 2077996"/>
                      <a:gd name="connsiteX11" fmla="*/ 2837575 w 3010735"/>
                      <a:gd name="connsiteY11" fmla="*/ 173159 h 2077996"/>
                      <a:gd name="connsiteX12" fmla="*/ 2837576 w 3010735"/>
                      <a:gd name="connsiteY12" fmla="*/ 865839 h 2077996"/>
                      <a:gd name="connsiteX13" fmla="*/ 3010735 w 3010735"/>
                      <a:gd name="connsiteY13" fmla="*/ 1038998 h 2077996"/>
                      <a:gd name="connsiteX14" fmla="*/ 2837576 w 3010735"/>
                      <a:gd name="connsiteY14" fmla="*/ 1212157 h 2077996"/>
                      <a:gd name="connsiteX15" fmla="*/ 2837576 w 3010735"/>
                      <a:gd name="connsiteY15" fmla="*/ 1904837 h 2077996"/>
                      <a:gd name="connsiteX16" fmla="*/ 2664417 w 3010735"/>
                      <a:gd name="connsiteY16" fmla="*/ 2077996 h 2077996"/>
                      <a:gd name="connsiteX17" fmla="*/ 2038531 w 3010735"/>
                      <a:gd name="connsiteY17" fmla="*/ 2077996 h 2077996"/>
                      <a:gd name="connsiteX18" fmla="*/ 1528549 w 3010735"/>
                      <a:gd name="connsiteY18" fmla="*/ 2077996 h 2077996"/>
                      <a:gd name="connsiteX19" fmla="*/ 925844 w 3010735"/>
                      <a:gd name="connsiteY19" fmla="*/ 2077996 h 2077996"/>
                      <a:gd name="connsiteX20" fmla="*/ 346319 w 3010735"/>
                      <a:gd name="connsiteY20" fmla="*/ 2077996 h 2077996"/>
                      <a:gd name="connsiteX0" fmla="*/ 346319 w 3010735"/>
                      <a:gd name="connsiteY0" fmla="*/ 2077996 h 2077996"/>
                      <a:gd name="connsiteX1" fmla="*/ 173160 w 3010735"/>
                      <a:gd name="connsiteY1" fmla="*/ 1904837 h 2077996"/>
                      <a:gd name="connsiteX2" fmla="*/ 173159 w 3010735"/>
                      <a:gd name="connsiteY2" fmla="*/ 1212157 h 2077996"/>
                      <a:gd name="connsiteX3" fmla="*/ 0 w 3010735"/>
                      <a:gd name="connsiteY3" fmla="*/ 1038998 h 2077996"/>
                      <a:gd name="connsiteX4" fmla="*/ 173159 w 3010735"/>
                      <a:gd name="connsiteY4" fmla="*/ 865839 h 2077996"/>
                      <a:gd name="connsiteX5" fmla="*/ 173159 w 3010735"/>
                      <a:gd name="connsiteY5" fmla="*/ 173159 h 2077996"/>
                      <a:gd name="connsiteX6" fmla="*/ 346318 w 3010735"/>
                      <a:gd name="connsiteY6" fmla="*/ 0 h 2077996"/>
                      <a:gd name="connsiteX7" fmla="*/ 2664416 w 3010735"/>
                      <a:gd name="connsiteY7" fmla="*/ 0 h 2077996"/>
                      <a:gd name="connsiteX8" fmla="*/ 2837575 w 3010735"/>
                      <a:gd name="connsiteY8" fmla="*/ 173159 h 2077996"/>
                      <a:gd name="connsiteX9" fmla="*/ 2837576 w 3010735"/>
                      <a:gd name="connsiteY9" fmla="*/ 865839 h 2077996"/>
                      <a:gd name="connsiteX10" fmla="*/ 3010735 w 3010735"/>
                      <a:gd name="connsiteY10" fmla="*/ 1038998 h 2077996"/>
                      <a:gd name="connsiteX11" fmla="*/ 2837576 w 3010735"/>
                      <a:gd name="connsiteY11" fmla="*/ 1212157 h 2077996"/>
                      <a:gd name="connsiteX12" fmla="*/ 2837576 w 3010735"/>
                      <a:gd name="connsiteY12" fmla="*/ 1904837 h 2077996"/>
                      <a:gd name="connsiteX13" fmla="*/ 2664417 w 3010735"/>
                      <a:gd name="connsiteY13" fmla="*/ 2077996 h 20779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3010735" h="2077996" stroke="0" extrusionOk="0">
                        <a:moveTo>
                          <a:pt x="346319" y="2077996"/>
                        </a:moveTo>
                        <a:cubicBezTo>
                          <a:pt x="250211" y="2082953"/>
                          <a:pt x="171173" y="2005116"/>
                          <a:pt x="173160" y="1904837"/>
                        </a:cubicBezTo>
                        <a:cubicBezTo>
                          <a:pt x="186008" y="1701021"/>
                          <a:pt x="203700" y="1461754"/>
                          <a:pt x="173159" y="1212157"/>
                        </a:cubicBezTo>
                        <a:cubicBezTo>
                          <a:pt x="165136" y="1109521"/>
                          <a:pt x="85690" y="1044164"/>
                          <a:pt x="0" y="1038998"/>
                        </a:cubicBezTo>
                        <a:cubicBezTo>
                          <a:pt x="95340" y="1041918"/>
                          <a:pt x="191462" y="950614"/>
                          <a:pt x="173159" y="865839"/>
                        </a:cubicBezTo>
                        <a:cubicBezTo>
                          <a:pt x="202627" y="659533"/>
                          <a:pt x="178206" y="438831"/>
                          <a:pt x="173159" y="173159"/>
                        </a:cubicBezTo>
                        <a:cubicBezTo>
                          <a:pt x="173896" y="84374"/>
                          <a:pt x="252427" y="-3243"/>
                          <a:pt x="346318" y="0"/>
                        </a:cubicBezTo>
                        <a:cubicBezTo>
                          <a:pt x="562056" y="-12076"/>
                          <a:pt x="647989" y="-20025"/>
                          <a:pt x="902662" y="0"/>
                        </a:cubicBezTo>
                        <a:cubicBezTo>
                          <a:pt x="1157335" y="20025"/>
                          <a:pt x="1236241" y="-20310"/>
                          <a:pt x="1435824" y="0"/>
                        </a:cubicBezTo>
                        <a:cubicBezTo>
                          <a:pt x="1635407" y="20310"/>
                          <a:pt x="1834635" y="-24585"/>
                          <a:pt x="2038530" y="0"/>
                        </a:cubicBezTo>
                        <a:cubicBezTo>
                          <a:pt x="2242425" y="24585"/>
                          <a:pt x="2380714" y="-12938"/>
                          <a:pt x="2664416" y="0"/>
                        </a:cubicBezTo>
                        <a:cubicBezTo>
                          <a:pt x="2756374" y="-16727"/>
                          <a:pt x="2844350" y="81766"/>
                          <a:pt x="2837575" y="173159"/>
                        </a:cubicBezTo>
                        <a:cubicBezTo>
                          <a:pt x="2850828" y="410429"/>
                          <a:pt x="2865745" y="598805"/>
                          <a:pt x="2837576" y="865839"/>
                        </a:cubicBezTo>
                        <a:cubicBezTo>
                          <a:pt x="2822727" y="951251"/>
                          <a:pt x="2896832" y="1024377"/>
                          <a:pt x="3010735" y="1038998"/>
                        </a:cubicBezTo>
                        <a:cubicBezTo>
                          <a:pt x="2905050" y="1050359"/>
                          <a:pt x="2836799" y="1119834"/>
                          <a:pt x="2837576" y="1212157"/>
                        </a:cubicBezTo>
                        <a:cubicBezTo>
                          <a:pt x="2861956" y="1489339"/>
                          <a:pt x="2826280" y="1592345"/>
                          <a:pt x="2837576" y="1904837"/>
                        </a:cubicBezTo>
                        <a:cubicBezTo>
                          <a:pt x="2857598" y="2007958"/>
                          <a:pt x="2775035" y="2066158"/>
                          <a:pt x="2664417" y="2077996"/>
                        </a:cubicBezTo>
                        <a:cubicBezTo>
                          <a:pt x="2384762" y="2073116"/>
                          <a:pt x="2168536" y="2083575"/>
                          <a:pt x="2038531" y="2077996"/>
                        </a:cubicBezTo>
                        <a:cubicBezTo>
                          <a:pt x="1908526" y="2072417"/>
                          <a:pt x="1738312" y="2080513"/>
                          <a:pt x="1528549" y="2077996"/>
                        </a:cubicBezTo>
                        <a:cubicBezTo>
                          <a:pt x="1318786" y="2075479"/>
                          <a:pt x="1200864" y="2085622"/>
                          <a:pt x="925844" y="2077996"/>
                        </a:cubicBezTo>
                        <a:cubicBezTo>
                          <a:pt x="650824" y="2070370"/>
                          <a:pt x="586809" y="2050827"/>
                          <a:pt x="346319" y="2077996"/>
                        </a:cubicBezTo>
                        <a:close/>
                      </a:path>
                      <a:path w="3010735" h="2077996" fill="none" extrusionOk="0">
                        <a:moveTo>
                          <a:pt x="346319" y="2077996"/>
                        </a:moveTo>
                        <a:cubicBezTo>
                          <a:pt x="262972" y="2090932"/>
                          <a:pt x="173242" y="2021616"/>
                          <a:pt x="173160" y="1904837"/>
                        </a:cubicBezTo>
                        <a:cubicBezTo>
                          <a:pt x="156602" y="1669382"/>
                          <a:pt x="201036" y="1467734"/>
                          <a:pt x="173159" y="1212157"/>
                        </a:cubicBezTo>
                        <a:cubicBezTo>
                          <a:pt x="157126" y="1114488"/>
                          <a:pt x="101334" y="1017600"/>
                          <a:pt x="0" y="1038998"/>
                        </a:cubicBezTo>
                        <a:cubicBezTo>
                          <a:pt x="86261" y="1052059"/>
                          <a:pt x="184560" y="959456"/>
                          <a:pt x="173159" y="865839"/>
                        </a:cubicBezTo>
                        <a:cubicBezTo>
                          <a:pt x="146828" y="578225"/>
                          <a:pt x="205199" y="422503"/>
                          <a:pt x="173159" y="173159"/>
                        </a:cubicBezTo>
                        <a:cubicBezTo>
                          <a:pt x="160543" y="86760"/>
                          <a:pt x="266307" y="-10624"/>
                          <a:pt x="346318" y="0"/>
                        </a:cubicBezTo>
                        <a:moveTo>
                          <a:pt x="2664416" y="0"/>
                        </a:moveTo>
                        <a:cubicBezTo>
                          <a:pt x="2755822" y="-11499"/>
                          <a:pt x="2815471" y="68709"/>
                          <a:pt x="2837575" y="173159"/>
                        </a:cubicBezTo>
                        <a:cubicBezTo>
                          <a:pt x="2860973" y="418208"/>
                          <a:pt x="2852401" y="641184"/>
                          <a:pt x="2837576" y="865839"/>
                        </a:cubicBezTo>
                        <a:cubicBezTo>
                          <a:pt x="2832153" y="949863"/>
                          <a:pt x="2914360" y="1047236"/>
                          <a:pt x="3010735" y="1038998"/>
                        </a:cubicBezTo>
                        <a:cubicBezTo>
                          <a:pt x="2913189" y="1037987"/>
                          <a:pt x="2837458" y="1124905"/>
                          <a:pt x="2837576" y="1212157"/>
                        </a:cubicBezTo>
                        <a:cubicBezTo>
                          <a:pt x="2850818" y="1389445"/>
                          <a:pt x="2808780" y="1644888"/>
                          <a:pt x="2837576" y="1904837"/>
                        </a:cubicBezTo>
                        <a:cubicBezTo>
                          <a:pt x="2844942" y="2009994"/>
                          <a:pt x="2752202" y="2062573"/>
                          <a:pt x="2664417" y="2077996"/>
                        </a:cubicBezTo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Oval 13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412811" y="1610095"/>
            <a:ext cx="783912" cy="734303"/>
          </a:xfrm>
          <a:prstGeom prst="ellips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  <a:latin typeface="Calibri Light"/>
            </a:endParaRPr>
          </a:p>
        </p:txBody>
      </p:sp>
      <p:cxnSp>
        <p:nvCxnSpPr>
          <p:cNvPr id="26" name="Straight Connector 2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132" idx="6"/>
            <a:endCxn id="134" idx="2"/>
          </p:cNvCxnSpPr>
          <p:nvPr/>
        </p:nvCxnSpPr>
        <p:spPr>
          <a:xfrm>
            <a:off x="4011021" y="1972405"/>
            <a:ext cx="1401790" cy="4842"/>
          </a:xfrm>
          <a:prstGeom prst="lin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</p:cxnSp>
      <p:sp>
        <p:nvSpPr>
          <p:cNvPr id="132" name="Oval 13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3825996" y="1885747"/>
            <a:ext cx="185025" cy="173316"/>
          </a:xfrm>
          <a:prstGeom prst="ellipse">
            <a:avLst/>
          </a:prstGeom>
          <a:solidFill>
            <a:schemeClr val="bg1"/>
          </a:solidFill>
          <a:ln w="34925" algn="ctr">
            <a:solidFill>
              <a:srgbClr val="004F59"/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4AEA2FB-2A4D-417C-BC31-D35BF9F9E282}"/>
              </a:ext>
            </a:extLst>
          </p:cNvPr>
          <p:cNvSpPr/>
          <p:nvPr/>
        </p:nvSpPr>
        <p:spPr bwMode="gray">
          <a:xfrm>
            <a:off x="5496298" y="1090585"/>
            <a:ext cx="2714554" cy="475243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3200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What</a:t>
            </a:r>
          </a:p>
        </p:txBody>
      </p:sp>
      <p:sp>
        <p:nvSpPr>
          <p:cNvPr id="171" name="Rectangle 170"/>
          <p:cNvSpPr/>
          <p:nvPr/>
        </p:nvSpPr>
        <p:spPr>
          <a:xfrm>
            <a:off x="6288263" y="1558467"/>
            <a:ext cx="5477751" cy="113877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defTabSz="742950">
              <a:defRPr/>
            </a:pPr>
            <a:r>
              <a:rPr lang="en-US" sz="2000" b="1" dirty="0">
                <a:solidFill>
                  <a:srgbClr val="004F5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curement</a:t>
            </a: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Plan large procurements in advance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Execute competitive procurement, when needed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Retain complete procurement documentation, including sole source justification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49" name="Straight Connector 14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147" idx="6"/>
          </p:cNvCxnSpPr>
          <p:nvPr/>
        </p:nvCxnSpPr>
        <p:spPr>
          <a:xfrm flipV="1">
            <a:off x="5213073" y="3355829"/>
            <a:ext cx="198564" cy="2287"/>
          </a:xfrm>
          <a:prstGeom prst="lin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</p:cxnSp>
      <p:sp>
        <p:nvSpPr>
          <p:cNvPr id="147" name="Oval 1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039757" y="3271458"/>
            <a:ext cx="173316" cy="173316"/>
          </a:xfrm>
          <a:prstGeom prst="ellipse">
            <a:avLst/>
          </a:prstGeom>
          <a:solidFill>
            <a:schemeClr val="bg1"/>
          </a:solidFill>
          <a:ln w="34925" algn="ctr">
            <a:solidFill>
              <a:srgbClr val="046A38"/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</a:endParaRPr>
          </a:p>
        </p:txBody>
      </p:sp>
      <p:sp>
        <p:nvSpPr>
          <p:cNvPr id="151" name="Oval 15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434249" y="2960591"/>
            <a:ext cx="740734" cy="740735"/>
          </a:xfrm>
          <a:prstGeom prst="ellips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6283050" y="2984172"/>
            <a:ext cx="4666769" cy="95410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defTabSz="742950">
              <a:defRPr/>
            </a:pPr>
            <a:r>
              <a:rPr lang="en-US" sz="2000" b="1" dirty="0">
                <a:solidFill>
                  <a:srgbClr val="43B02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urchasing</a:t>
            </a: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Bundle the PO, Invoice, and proof of payment for each purchase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Retain approvals and confirmation of delivery in files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61" name="Straight Connector 6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153" idx="6"/>
          </p:cNvCxnSpPr>
          <p:nvPr/>
        </p:nvCxnSpPr>
        <p:spPr>
          <a:xfrm>
            <a:off x="5189612" y="4618230"/>
            <a:ext cx="299816" cy="2086"/>
          </a:xfrm>
          <a:prstGeom prst="lin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</p:cxnSp>
      <p:sp>
        <p:nvSpPr>
          <p:cNvPr id="157" name="Oval 15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456250" y="4248327"/>
            <a:ext cx="738185" cy="738185"/>
          </a:xfrm>
          <a:prstGeom prst="ellips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283049" y="4223631"/>
            <a:ext cx="4666770" cy="130805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defTabSz="742950">
              <a:defRPr/>
            </a:pPr>
            <a:r>
              <a:rPr lang="en-US" sz="2000" b="1" dirty="0">
                <a:solidFill>
                  <a:srgbClr val="01216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quipment Management</a:t>
            </a: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Tag all federally-funded assets and include funding source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Maintain 2 CFR 200 compliant inventory records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Conduct physical inventory reconciliation at least every 2 years.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endParaRPr lang="en-US" sz="1100" b="1" dirty="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3" name="Oval 15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016296" y="4531572"/>
            <a:ext cx="173316" cy="173316"/>
          </a:xfrm>
          <a:prstGeom prst="ellipse">
            <a:avLst/>
          </a:prstGeom>
          <a:solidFill>
            <a:schemeClr val="bg1"/>
          </a:solidFill>
          <a:ln w="34925" algn="ctr">
            <a:solidFill>
              <a:srgbClr val="012169"/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</a:endParaRPr>
          </a:p>
        </p:txBody>
      </p:sp>
      <p:cxnSp>
        <p:nvCxnSpPr>
          <p:cNvPr id="155" name="Straight Connector 15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278994" y="5883770"/>
            <a:ext cx="1167194" cy="5333"/>
          </a:xfrm>
          <a:prstGeom prst="lin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</p:cxnSp>
      <p:sp>
        <p:nvSpPr>
          <p:cNvPr id="141" name="Oval 14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4105678" y="5819408"/>
            <a:ext cx="173316" cy="173316"/>
          </a:xfrm>
          <a:prstGeom prst="ellipse">
            <a:avLst/>
          </a:prstGeom>
          <a:solidFill>
            <a:schemeClr val="bg1"/>
          </a:solidFill>
          <a:ln w="34925" algn="ctr">
            <a:solidFill>
              <a:srgbClr val="2C5234"/>
            </a:solidFill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</a:endParaRPr>
          </a:p>
        </p:txBody>
      </p:sp>
      <p:sp>
        <p:nvSpPr>
          <p:cNvPr id="145" name="Oval 14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434899" y="5519125"/>
            <a:ext cx="739957" cy="739956"/>
          </a:xfrm>
          <a:prstGeom prst="ellipse">
            <a:avLst/>
          </a:prstGeom>
          <a:noFill/>
          <a:ln w="22225" algn="ctr">
            <a:solidFill>
              <a:schemeClr val="tx1">
                <a:lumMod val="50000"/>
                <a:lumOff val="50000"/>
              </a:schemeClr>
            </a:solidFill>
            <a:prstDash val="sysDot"/>
            <a:miter lim="800000"/>
            <a:headEnd/>
            <a:tailEnd/>
          </a:ln>
        </p:spPr>
        <p:txBody>
          <a:bodyPr wrap="square" lIns="72231" tIns="72231" rIns="72231" bIns="72231" rtlCol="0" anchor="ctr"/>
          <a:lstStyle/>
          <a:p>
            <a:pPr defTabSz="742950">
              <a:lnSpc>
                <a:spcPct val="106000"/>
              </a:lnSpc>
              <a:defRPr/>
            </a:pPr>
            <a:endParaRPr lang="en-US" sz="1300" b="1">
              <a:solidFill>
                <a:prstClr val="white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320350" y="5550295"/>
            <a:ext cx="4875969" cy="76944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defTabSz="742950">
              <a:defRPr/>
            </a:pPr>
            <a:r>
              <a:rPr lang="en-US" sz="2000" b="1" dirty="0">
                <a:solidFill>
                  <a:srgbClr val="0097A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st Tracking Requirements</a:t>
            </a:r>
          </a:p>
          <a:p>
            <a:pPr marL="171450" indent="-171450" defTabSz="7429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Open Sans"/>
                <a:ea typeface="Open Sans"/>
                <a:cs typeface="Open Sans"/>
              </a:rPr>
              <a:t>Maintain records that adhere to cost tracking requirements according to the chart of accounts.</a:t>
            </a:r>
          </a:p>
        </p:txBody>
      </p:sp>
      <p:grpSp>
        <p:nvGrpSpPr>
          <p:cNvPr id="46" name="Graphic 1039">
            <a:extLst>
              <a:ext uri="{FF2B5EF4-FFF2-40B4-BE49-F238E27FC236}">
                <a16:creationId xmlns:a16="http://schemas.microsoft.com/office/drawing/2014/main" id="{EA36CC13-8E50-49A0-8CAC-4C24917D2D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470821" y="1642477"/>
            <a:ext cx="664850" cy="664235"/>
            <a:chOff x="6147119" y="2371173"/>
            <a:chExt cx="361670" cy="361333"/>
          </a:xfrm>
          <a:solidFill>
            <a:srgbClr val="004F59"/>
          </a:solidFill>
        </p:grpSpPr>
        <p:sp>
          <p:nvSpPr>
            <p:cNvPr id="47" name="Graphic 1039">
              <a:extLst>
                <a:ext uri="{FF2B5EF4-FFF2-40B4-BE49-F238E27FC236}">
                  <a16:creationId xmlns:a16="http://schemas.microsoft.com/office/drawing/2014/main" id="{D5F0E8AA-C3CD-4343-A1B3-EF9A40EB3963}"/>
                </a:ext>
              </a:extLst>
            </p:cNvPr>
            <p:cNvSpPr/>
            <p:nvPr/>
          </p:nvSpPr>
          <p:spPr>
            <a:xfrm>
              <a:off x="6222520" y="2609934"/>
              <a:ext cx="210867" cy="14044"/>
            </a:xfrm>
            <a:custGeom>
              <a:avLst/>
              <a:gdLst>
                <a:gd name="connsiteX0" fmla="*/ 6390 w 210867"/>
                <a:gd name="connsiteY0" fmla="*/ 0 h 14044"/>
                <a:gd name="connsiteX1" fmla="*/ 0 w 210867"/>
                <a:gd name="connsiteY1" fmla="*/ 0 h 14044"/>
                <a:gd name="connsiteX2" fmla="*/ 0 w 210867"/>
                <a:gd name="connsiteY2" fmla="*/ 7022 h 14044"/>
                <a:gd name="connsiteX3" fmla="*/ 14058 w 210867"/>
                <a:gd name="connsiteY3" fmla="*/ 14045 h 14044"/>
                <a:gd name="connsiteX4" fmla="*/ 196810 w 210867"/>
                <a:gd name="connsiteY4" fmla="*/ 14045 h 14044"/>
                <a:gd name="connsiteX5" fmla="*/ 210868 w 210867"/>
                <a:gd name="connsiteY5" fmla="*/ 7022 h 14044"/>
                <a:gd name="connsiteX6" fmla="*/ 210868 w 210867"/>
                <a:gd name="connsiteY6" fmla="*/ 0 h 14044"/>
                <a:gd name="connsiteX7" fmla="*/ 204478 w 210867"/>
                <a:gd name="connsiteY7" fmla="*/ 0 h 14044"/>
                <a:gd name="connsiteX8" fmla="*/ 6390 w 210867"/>
                <a:gd name="connsiteY8" fmla="*/ 0 h 14044"/>
                <a:gd name="connsiteX9" fmla="*/ 110546 w 210867"/>
                <a:gd name="connsiteY9" fmla="*/ 10214 h 14044"/>
                <a:gd name="connsiteX10" fmla="*/ 104795 w 210867"/>
                <a:gd name="connsiteY10" fmla="*/ 14045 h 14044"/>
                <a:gd name="connsiteX11" fmla="*/ 102239 w 210867"/>
                <a:gd name="connsiteY11" fmla="*/ 13406 h 14044"/>
                <a:gd name="connsiteX12" fmla="*/ 99044 w 210867"/>
                <a:gd name="connsiteY12" fmla="*/ 6384 h 14044"/>
                <a:gd name="connsiteX13" fmla="*/ 105434 w 210867"/>
                <a:gd name="connsiteY13" fmla="*/ 1277 h 14044"/>
                <a:gd name="connsiteX14" fmla="*/ 111824 w 210867"/>
                <a:gd name="connsiteY14" fmla="*/ 7661 h 14044"/>
                <a:gd name="connsiteX15" fmla="*/ 110546 w 210867"/>
                <a:gd name="connsiteY15" fmla="*/ 10214 h 1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0867" h="14044">
                  <a:moveTo>
                    <a:pt x="6390" y="0"/>
                  </a:moveTo>
                  <a:lnTo>
                    <a:pt x="0" y="0"/>
                  </a:lnTo>
                  <a:lnTo>
                    <a:pt x="0" y="7022"/>
                  </a:lnTo>
                  <a:cubicBezTo>
                    <a:pt x="0" y="10214"/>
                    <a:pt x="5751" y="14045"/>
                    <a:pt x="14058" y="14045"/>
                  </a:cubicBezTo>
                  <a:lnTo>
                    <a:pt x="196810" y="14045"/>
                  </a:lnTo>
                  <a:cubicBezTo>
                    <a:pt x="205117" y="14045"/>
                    <a:pt x="210868" y="10214"/>
                    <a:pt x="210868" y="7022"/>
                  </a:cubicBezTo>
                  <a:lnTo>
                    <a:pt x="210868" y="0"/>
                  </a:lnTo>
                  <a:lnTo>
                    <a:pt x="204478" y="0"/>
                  </a:lnTo>
                  <a:lnTo>
                    <a:pt x="6390" y="0"/>
                  </a:lnTo>
                  <a:close/>
                  <a:moveTo>
                    <a:pt x="110546" y="10214"/>
                  </a:moveTo>
                  <a:cubicBezTo>
                    <a:pt x="109268" y="12768"/>
                    <a:pt x="107351" y="14045"/>
                    <a:pt x="104795" y="14045"/>
                  </a:cubicBezTo>
                  <a:cubicBezTo>
                    <a:pt x="104156" y="14045"/>
                    <a:pt x="102878" y="14045"/>
                    <a:pt x="102239" y="13406"/>
                  </a:cubicBezTo>
                  <a:cubicBezTo>
                    <a:pt x="99683" y="12130"/>
                    <a:pt x="98405" y="9576"/>
                    <a:pt x="99044" y="6384"/>
                  </a:cubicBezTo>
                  <a:cubicBezTo>
                    <a:pt x="99683" y="3192"/>
                    <a:pt x="102239" y="1277"/>
                    <a:pt x="105434" y="1277"/>
                  </a:cubicBezTo>
                  <a:cubicBezTo>
                    <a:pt x="109268" y="1277"/>
                    <a:pt x="111824" y="3830"/>
                    <a:pt x="111824" y="7661"/>
                  </a:cubicBezTo>
                  <a:cubicBezTo>
                    <a:pt x="111824" y="8299"/>
                    <a:pt x="111185" y="8938"/>
                    <a:pt x="110546" y="10214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Graphic 1039">
              <a:extLst>
                <a:ext uri="{FF2B5EF4-FFF2-40B4-BE49-F238E27FC236}">
                  <a16:creationId xmlns:a16="http://schemas.microsoft.com/office/drawing/2014/main" id="{1E569504-C4D4-4146-B5F4-6F61A0E7F650}"/>
                </a:ext>
              </a:extLst>
            </p:cNvPr>
            <p:cNvSpPr/>
            <p:nvPr/>
          </p:nvSpPr>
          <p:spPr>
            <a:xfrm>
              <a:off x="6235939" y="2479063"/>
              <a:ext cx="184030" cy="118741"/>
            </a:xfrm>
            <a:custGeom>
              <a:avLst/>
              <a:gdLst>
                <a:gd name="connsiteX0" fmla="*/ 184030 w 184030"/>
                <a:gd name="connsiteY0" fmla="*/ 118104 h 118741"/>
                <a:gd name="connsiteX1" fmla="*/ 184030 w 184030"/>
                <a:gd name="connsiteY1" fmla="*/ 12130 h 118741"/>
                <a:gd name="connsiteX2" fmla="*/ 173167 w 184030"/>
                <a:gd name="connsiteY2" fmla="*/ 0 h 118741"/>
                <a:gd name="connsiteX3" fmla="*/ 11502 w 184030"/>
                <a:gd name="connsiteY3" fmla="*/ 0 h 118741"/>
                <a:gd name="connsiteX4" fmla="*/ 3195 w 184030"/>
                <a:gd name="connsiteY4" fmla="*/ 3192 h 118741"/>
                <a:gd name="connsiteX5" fmla="*/ 0 w 184030"/>
                <a:gd name="connsiteY5" fmla="*/ 14045 h 118741"/>
                <a:gd name="connsiteX6" fmla="*/ 0 w 184030"/>
                <a:gd name="connsiteY6" fmla="*/ 118742 h 118741"/>
                <a:gd name="connsiteX7" fmla="*/ 184030 w 184030"/>
                <a:gd name="connsiteY7" fmla="*/ 118742 h 118741"/>
                <a:gd name="connsiteX8" fmla="*/ 93293 w 184030"/>
                <a:gd name="connsiteY8" fmla="*/ 67670 h 118741"/>
                <a:gd name="connsiteX9" fmla="*/ 70928 w 184030"/>
                <a:gd name="connsiteY9" fmla="*/ 45326 h 118741"/>
                <a:gd name="connsiteX10" fmla="*/ 86903 w 184030"/>
                <a:gd name="connsiteY10" fmla="*/ 23621 h 118741"/>
                <a:gd name="connsiteX11" fmla="*/ 86903 w 184030"/>
                <a:gd name="connsiteY11" fmla="*/ 18514 h 118741"/>
                <a:gd name="connsiteX12" fmla="*/ 93293 w 184030"/>
                <a:gd name="connsiteY12" fmla="*/ 12130 h 118741"/>
                <a:gd name="connsiteX13" fmla="*/ 99683 w 184030"/>
                <a:gd name="connsiteY13" fmla="*/ 18514 h 118741"/>
                <a:gd name="connsiteX14" fmla="*/ 99683 w 184030"/>
                <a:gd name="connsiteY14" fmla="*/ 23621 h 118741"/>
                <a:gd name="connsiteX15" fmla="*/ 116297 w 184030"/>
                <a:gd name="connsiteY15" fmla="*/ 45326 h 118741"/>
                <a:gd name="connsiteX16" fmla="*/ 109907 w 184030"/>
                <a:gd name="connsiteY16" fmla="*/ 51710 h 118741"/>
                <a:gd name="connsiteX17" fmla="*/ 103517 w 184030"/>
                <a:gd name="connsiteY17" fmla="*/ 45326 h 118741"/>
                <a:gd name="connsiteX18" fmla="*/ 93293 w 184030"/>
                <a:gd name="connsiteY18" fmla="*/ 35112 h 118741"/>
                <a:gd name="connsiteX19" fmla="*/ 83708 w 184030"/>
                <a:gd name="connsiteY19" fmla="*/ 45326 h 118741"/>
                <a:gd name="connsiteX20" fmla="*/ 93293 w 184030"/>
                <a:gd name="connsiteY20" fmla="*/ 54902 h 118741"/>
                <a:gd name="connsiteX21" fmla="*/ 116297 w 184030"/>
                <a:gd name="connsiteY21" fmla="*/ 77246 h 118741"/>
                <a:gd name="connsiteX22" fmla="*/ 99683 w 184030"/>
                <a:gd name="connsiteY22" fmla="*/ 98952 h 118741"/>
                <a:gd name="connsiteX23" fmla="*/ 99683 w 184030"/>
                <a:gd name="connsiteY23" fmla="*/ 104059 h 118741"/>
                <a:gd name="connsiteX24" fmla="*/ 93293 w 184030"/>
                <a:gd name="connsiteY24" fmla="*/ 110443 h 118741"/>
                <a:gd name="connsiteX25" fmla="*/ 86903 w 184030"/>
                <a:gd name="connsiteY25" fmla="*/ 104059 h 118741"/>
                <a:gd name="connsiteX26" fmla="*/ 86903 w 184030"/>
                <a:gd name="connsiteY26" fmla="*/ 98952 h 118741"/>
                <a:gd name="connsiteX27" fmla="*/ 70928 w 184030"/>
                <a:gd name="connsiteY27" fmla="*/ 77884 h 118741"/>
                <a:gd name="connsiteX28" fmla="*/ 77318 w 184030"/>
                <a:gd name="connsiteY28" fmla="*/ 71500 h 118741"/>
                <a:gd name="connsiteX29" fmla="*/ 83708 w 184030"/>
                <a:gd name="connsiteY29" fmla="*/ 77884 h 118741"/>
                <a:gd name="connsiteX30" fmla="*/ 93293 w 184030"/>
                <a:gd name="connsiteY30" fmla="*/ 87460 h 118741"/>
                <a:gd name="connsiteX31" fmla="*/ 103517 w 184030"/>
                <a:gd name="connsiteY31" fmla="*/ 77884 h 118741"/>
                <a:gd name="connsiteX32" fmla="*/ 93293 w 184030"/>
                <a:gd name="connsiteY32" fmla="*/ 67670 h 118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84030" h="118741">
                  <a:moveTo>
                    <a:pt x="184030" y="118104"/>
                  </a:moveTo>
                  <a:lnTo>
                    <a:pt x="184030" y="12130"/>
                  </a:lnTo>
                  <a:cubicBezTo>
                    <a:pt x="184030" y="638"/>
                    <a:pt x="175723" y="0"/>
                    <a:pt x="173167" y="0"/>
                  </a:cubicBezTo>
                  <a:lnTo>
                    <a:pt x="11502" y="0"/>
                  </a:lnTo>
                  <a:cubicBezTo>
                    <a:pt x="7668" y="0"/>
                    <a:pt x="5112" y="1277"/>
                    <a:pt x="3195" y="3192"/>
                  </a:cubicBezTo>
                  <a:cubicBezTo>
                    <a:pt x="0" y="6384"/>
                    <a:pt x="0" y="12130"/>
                    <a:pt x="0" y="14045"/>
                  </a:cubicBezTo>
                  <a:lnTo>
                    <a:pt x="0" y="118742"/>
                  </a:lnTo>
                  <a:lnTo>
                    <a:pt x="184030" y="118742"/>
                  </a:lnTo>
                  <a:close/>
                  <a:moveTo>
                    <a:pt x="93293" y="67670"/>
                  </a:moveTo>
                  <a:cubicBezTo>
                    <a:pt x="81152" y="67670"/>
                    <a:pt x="70928" y="57456"/>
                    <a:pt x="70928" y="45326"/>
                  </a:cubicBezTo>
                  <a:cubicBezTo>
                    <a:pt x="70928" y="35112"/>
                    <a:pt x="77957" y="26813"/>
                    <a:pt x="86903" y="23621"/>
                  </a:cubicBezTo>
                  <a:lnTo>
                    <a:pt x="86903" y="18514"/>
                  </a:lnTo>
                  <a:cubicBezTo>
                    <a:pt x="86903" y="14683"/>
                    <a:pt x="89459" y="12130"/>
                    <a:pt x="93293" y="12130"/>
                  </a:cubicBezTo>
                  <a:cubicBezTo>
                    <a:pt x="97127" y="12130"/>
                    <a:pt x="99683" y="14683"/>
                    <a:pt x="99683" y="18514"/>
                  </a:cubicBezTo>
                  <a:lnTo>
                    <a:pt x="99683" y="23621"/>
                  </a:lnTo>
                  <a:cubicBezTo>
                    <a:pt x="109268" y="26174"/>
                    <a:pt x="116297" y="35112"/>
                    <a:pt x="116297" y="45326"/>
                  </a:cubicBezTo>
                  <a:cubicBezTo>
                    <a:pt x="116297" y="49157"/>
                    <a:pt x="113741" y="51710"/>
                    <a:pt x="109907" y="51710"/>
                  </a:cubicBezTo>
                  <a:cubicBezTo>
                    <a:pt x="106073" y="51710"/>
                    <a:pt x="103517" y="49157"/>
                    <a:pt x="103517" y="45326"/>
                  </a:cubicBezTo>
                  <a:cubicBezTo>
                    <a:pt x="103517" y="39581"/>
                    <a:pt x="99044" y="35112"/>
                    <a:pt x="93293" y="35112"/>
                  </a:cubicBezTo>
                  <a:cubicBezTo>
                    <a:pt x="88181" y="35112"/>
                    <a:pt x="83708" y="39581"/>
                    <a:pt x="83708" y="45326"/>
                  </a:cubicBezTo>
                  <a:cubicBezTo>
                    <a:pt x="83708" y="50433"/>
                    <a:pt x="88181" y="54902"/>
                    <a:pt x="93293" y="54902"/>
                  </a:cubicBezTo>
                  <a:cubicBezTo>
                    <a:pt x="106073" y="54902"/>
                    <a:pt x="116297" y="65117"/>
                    <a:pt x="116297" y="77246"/>
                  </a:cubicBezTo>
                  <a:cubicBezTo>
                    <a:pt x="116297" y="87460"/>
                    <a:pt x="109268" y="95760"/>
                    <a:pt x="99683" y="98952"/>
                  </a:cubicBezTo>
                  <a:lnTo>
                    <a:pt x="99683" y="104059"/>
                  </a:lnTo>
                  <a:cubicBezTo>
                    <a:pt x="99683" y="107889"/>
                    <a:pt x="97127" y="110443"/>
                    <a:pt x="93293" y="110443"/>
                  </a:cubicBezTo>
                  <a:cubicBezTo>
                    <a:pt x="89459" y="110443"/>
                    <a:pt x="86903" y="107889"/>
                    <a:pt x="86903" y="104059"/>
                  </a:cubicBezTo>
                  <a:lnTo>
                    <a:pt x="86903" y="98952"/>
                  </a:lnTo>
                  <a:cubicBezTo>
                    <a:pt x="77957" y="96398"/>
                    <a:pt x="70928" y="87460"/>
                    <a:pt x="70928" y="77884"/>
                  </a:cubicBezTo>
                  <a:cubicBezTo>
                    <a:pt x="70928" y="74054"/>
                    <a:pt x="73484" y="71500"/>
                    <a:pt x="77318" y="71500"/>
                  </a:cubicBezTo>
                  <a:cubicBezTo>
                    <a:pt x="81152" y="71500"/>
                    <a:pt x="83708" y="74054"/>
                    <a:pt x="83708" y="77884"/>
                  </a:cubicBezTo>
                  <a:cubicBezTo>
                    <a:pt x="83708" y="82992"/>
                    <a:pt x="88181" y="87460"/>
                    <a:pt x="93293" y="87460"/>
                  </a:cubicBezTo>
                  <a:cubicBezTo>
                    <a:pt x="99044" y="87460"/>
                    <a:pt x="103517" y="82992"/>
                    <a:pt x="103517" y="77884"/>
                  </a:cubicBezTo>
                  <a:cubicBezTo>
                    <a:pt x="103517" y="71500"/>
                    <a:pt x="99044" y="67670"/>
                    <a:pt x="93293" y="67670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Graphic 1039">
              <a:extLst>
                <a:ext uri="{FF2B5EF4-FFF2-40B4-BE49-F238E27FC236}">
                  <a16:creationId xmlns:a16="http://schemas.microsoft.com/office/drawing/2014/main" id="{64DAAA05-5B6B-4F33-9CAD-91EDCEA29D99}"/>
                </a:ext>
              </a:extLst>
            </p:cNvPr>
            <p:cNvSpPr/>
            <p:nvPr/>
          </p:nvSpPr>
          <p:spPr>
            <a:xfrm>
              <a:off x="6147119" y="2371173"/>
              <a:ext cx="361670" cy="361333"/>
            </a:xfrm>
            <a:custGeom>
              <a:avLst/>
              <a:gdLst>
                <a:gd name="connsiteX0" fmla="*/ 180835 w 361670"/>
                <a:gd name="connsiteY0" fmla="*/ 0 h 361333"/>
                <a:gd name="connsiteX1" fmla="*/ 0 w 361670"/>
                <a:gd name="connsiteY1" fmla="*/ 180667 h 361333"/>
                <a:gd name="connsiteX2" fmla="*/ 180835 w 361670"/>
                <a:gd name="connsiteY2" fmla="*/ 361333 h 361333"/>
                <a:gd name="connsiteX3" fmla="*/ 361670 w 361670"/>
                <a:gd name="connsiteY3" fmla="*/ 180667 h 361333"/>
                <a:gd name="connsiteX4" fmla="*/ 180835 w 361670"/>
                <a:gd name="connsiteY4" fmla="*/ 0 h 361333"/>
                <a:gd name="connsiteX5" fmla="*/ 298410 w 361670"/>
                <a:gd name="connsiteY5" fmla="*/ 246422 h 361333"/>
                <a:gd name="connsiteX6" fmla="*/ 271572 w 361670"/>
                <a:gd name="connsiteY6" fmla="*/ 266212 h 361333"/>
                <a:gd name="connsiteX7" fmla="*/ 89459 w 361670"/>
                <a:gd name="connsiteY7" fmla="*/ 266212 h 361333"/>
                <a:gd name="connsiteX8" fmla="*/ 62621 w 361670"/>
                <a:gd name="connsiteY8" fmla="*/ 246422 h 361333"/>
                <a:gd name="connsiteX9" fmla="*/ 62621 w 361670"/>
                <a:gd name="connsiteY9" fmla="*/ 233015 h 361333"/>
                <a:gd name="connsiteX10" fmla="*/ 69011 w 361670"/>
                <a:gd name="connsiteY10" fmla="*/ 226631 h 361333"/>
                <a:gd name="connsiteX11" fmla="*/ 75401 w 361670"/>
                <a:gd name="connsiteY11" fmla="*/ 226631 h 361333"/>
                <a:gd name="connsiteX12" fmla="*/ 75401 w 361670"/>
                <a:gd name="connsiteY12" fmla="*/ 122573 h 361333"/>
                <a:gd name="connsiteX13" fmla="*/ 81791 w 361670"/>
                <a:gd name="connsiteY13" fmla="*/ 102782 h 361333"/>
                <a:gd name="connsiteX14" fmla="*/ 99683 w 361670"/>
                <a:gd name="connsiteY14" fmla="*/ 95760 h 361333"/>
                <a:gd name="connsiteX15" fmla="*/ 261349 w 361670"/>
                <a:gd name="connsiteY15" fmla="*/ 95760 h 361333"/>
                <a:gd name="connsiteX16" fmla="*/ 277962 w 361670"/>
                <a:gd name="connsiteY16" fmla="*/ 102782 h 361333"/>
                <a:gd name="connsiteX17" fmla="*/ 284991 w 361670"/>
                <a:gd name="connsiteY17" fmla="*/ 121296 h 361333"/>
                <a:gd name="connsiteX18" fmla="*/ 284991 w 361670"/>
                <a:gd name="connsiteY18" fmla="*/ 227270 h 361333"/>
                <a:gd name="connsiteX19" fmla="*/ 291381 w 361670"/>
                <a:gd name="connsiteY19" fmla="*/ 227270 h 361333"/>
                <a:gd name="connsiteX20" fmla="*/ 297771 w 361670"/>
                <a:gd name="connsiteY20" fmla="*/ 233654 h 361333"/>
                <a:gd name="connsiteX21" fmla="*/ 297771 w 361670"/>
                <a:gd name="connsiteY21" fmla="*/ 246422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61670" h="361333">
                  <a:moveTo>
                    <a:pt x="180835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257"/>
                    <a:pt x="81152" y="361333"/>
                    <a:pt x="180835" y="361333"/>
                  </a:cubicBezTo>
                  <a:cubicBezTo>
                    <a:pt x="281157" y="361333"/>
                    <a:pt x="361670" y="280257"/>
                    <a:pt x="361670" y="180667"/>
                  </a:cubicBezTo>
                  <a:cubicBezTo>
                    <a:pt x="361670" y="81077"/>
                    <a:pt x="280518" y="0"/>
                    <a:pt x="180835" y="0"/>
                  </a:cubicBezTo>
                  <a:close/>
                  <a:moveTo>
                    <a:pt x="298410" y="246422"/>
                  </a:moveTo>
                  <a:cubicBezTo>
                    <a:pt x="298410" y="257913"/>
                    <a:pt x="286908" y="266212"/>
                    <a:pt x="271572" y="266212"/>
                  </a:cubicBezTo>
                  <a:lnTo>
                    <a:pt x="89459" y="266212"/>
                  </a:lnTo>
                  <a:cubicBezTo>
                    <a:pt x="74123" y="266212"/>
                    <a:pt x="62621" y="257913"/>
                    <a:pt x="62621" y="246422"/>
                  </a:cubicBezTo>
                  <a:lnTo>
                    <a:pt x="62621" y="233015"/>
                  </a:lnTo>
                  <a:cubicBezTo>
                    <a:pt x="62621" y="229185"/>
                    <a:pt x="65177" y="226631"/>
                    <a:pt x="69011" y="226631"/>
                  </a:cubicBezTo>
                  <a:lnTo>
                    <a:pt x="75401" y="226631"/>
                  </a:lnTo>
                  <a:lnTo>
                    <a:pt x="75401" y="122573"/>
                  </a:lnTo>
                  <a:cubicBezTo>
                    <a:pt x="75401" y="121934"/>
                    <a:pt x="74762" y="111081"/>
                    <a:pt x="81791" y="102782"/>
                  </a:cubicBezTo>
                  <a:cubicBezTo>
                    <a:pt x="84986" y="99590"/>
                    <a:pt x="90098" y="95760"/>
                    <a:pt x="99683" y="95760"/>
                  </a:cubicBezTo>
                  <a:lnTo>
                    <a:pt x="261349" y="95760"/>
                  </a:lnTo>
                  <a:cubicBezTo>
                    <a:pt x="262626" y="95760"/>
                    <a:pt x="271572" y="95760"/>
                    <a:pt x="277962" y="102782"/>
                  </a:cubicBezTo>
                  <a:cubicBezTo>
                    <a:pt x="282435" y="107251"/>
                    <a:pt x="284991" y="113635"/>
                    <a:pt x="284991" y="121296"/>
                  </a:cubicBezTo>
                  <a:lnTo>
                    <a:pt x="284991" y="227270"/>
                  </a:lnTo>
                  <a:lnTo>
                    <a:pt x="291381" y="227270"/>
                  </a:lnTo>
                  <a:cubicBezTo>
                    <a:pt x="295215" y="227270"/>
                    <a:pt x="297771" y="229823"/>
                    <a:pt x="297771" y="233654"/>
                  </a:cubicBezTo>
                  <a:lnTo>
                    <a:pt x="297771" y="24642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0" name="Graphic 4">
            <a:extLst>
              <a:ext uri="{FF2B5EF4-FFF2-40B4-BE49-F238E27FC236}">
                <a16:creationId xmlns:a16="http://schemas.microsoft.com/office/drawing/2014/main" id="{0823AFDF-ED49-4CC0-B5CE-FA7F9BF751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5470810" y="2998256"/>
            <a:ext cx="666020" cy="665403"/>
            <a:chOff x="905454" y="1402723"/>
            <a:chExt cx="362309" cy="361971"/>
          </a:xfrm>
          <a:solidFill>
            <a:srgbClr val="046A38"/>
          </a:solidFill>
        </p:grpSpPr>
        <p:sp>
          <p:nvSpPr>
            <p:cNvPr id="51" name="Graphic 4">
              <a:extLst>
                <a:ext uri="{FF2B5EF4-FFF2-40B4-BE49-F238E27FC236}">
                  <a16:creationId xmlns:a16="http://schemas.microsoft.com/office/drawing/2014/main" id="{3667B03F-A8E0-4A81-857B-473E42FCD220}"/>
                </a:ext>
              </a:extLst>
            </p:cNvPr>
            <p:cNvSpPr/>
            <p:nvPr/>
          </p:nvSpPr>
          <p:spPr>
            <a:xfrm>
              <a:off x="1080538" y="1539340"/>
              <a:ext cx="20447" cy="21067"/>
            </a:xfrm>
            <a:custGeom>
              <a:avLst/>
              <a:gdLst>
                <a:gd name="connsiteX0" fmla="*/ 0 w 20447"/>
                <a:gd name="connsiteY0" fmla="*/ 21067 h 21067"/>
                <a:gd name="connsiteX1" fmla="*/ 20448 w 20447"/>
                <a:gd name="connsiteY1" fmla="*/ 21067 h 21067"/>
                <a:gd name="connsiteX2" fmla="*/ 0 w 20447"/>
                <a:gd name="connsiteY2" fmla="*/ 0 h 2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447" h="21067">
                  <a:moveTo>
                    <a:pt x="0" y="21067"/>
                  </a:moveTo>
                  <a:lnTo>
                    <a:pt x="20448" y="2106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Graphic 4">
              <a:extLst>
                <a:ext uri="{FF2B5EF4-FFF2-40B4-BE49-F238E27FC236}">
                  <a16:creationId xmlns:a16="http://schemas.microsoft.com/office/drawing/2014/main" id="{E7CB32B0-4748-4A79-B0B8-550AD6EAC4C6}"/>
                </a:ext>
              </a:extLst>
            </p:cNvPr>
            <p:cNvSpPr/>
            <p:nvPr/>
          </p:nvSpPr>
          <p:spPr>
            <a:xfrm>
              <a:off x="1004498" y="1531041"/>
              <a:ext cx="104795" cy="155130"/>
            </a:xfrm>
            <a:custGeom>
              <a:avLst/>
              <a:gdLst>
                <a:gd name="connsiteX0" fmla="*/ 69650 w 104795"/>
                <a:gd name="connsiteY0" fmla="*/ 42134 h 155130"/>
                <a:gd name="connsiteX1" fmla="*/ 63260 w 104795"/>
                <a:gd name="connsiteY1" fmla="*/ 35750 h 155130"/>
                <a:gd name="connsiteX2" fmla="*/ 63260 w 104795"/>
                <a:gd name="connsiteY2" fmla="*/ 0 h 155130"/>
                <a:gd name="connsiteX3" fmla="*/ 0 w 104795"/>
                <a:gd name="connsiteY3" fmla="*/ 0 h 155130"/>
                <a:gd name="connsiteX4" fmla="*/ 0 w 104795"/>
                <a:gd name="connsiteY4" fmla="*/ 155131 h 155130"/>
                <a:gd name="connsiteX5" fmla="*/ 104795 w 104795"/>
                <a:gd name="connsiteY5" fmla="*/ 155131 h 155130"/>
                <a:gd name="connsiteX6" fmla="*/ 104795 w 104795"/>
                <a:gd name="connsiteY6" fmla="*/ 41496 h 155130"/>
                <a:gd name="connsiteX7" fmla="*/ 69650 w 104795"/>
                <a:gd name="connsiteY7" fmla="*/ 41496 h 155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95" h="155130">
                  <a:moveTo>
                    <a:pt x="69650" y="42134"/>
                  </a:moveTo>
                  <a:cubicBezTo>
                    <a:pt x="65816" y="42134"/>
                    <a:pt x="63260" y="39581"/>
                    <a:pt x="63260" y="35750"/>
                  </a:cubicBezTo>
                  <a:lnTo>
                    <a:pt x="63260" y="0"/>
                  </a:lnTo>
                  <a:lnTo>
                    <a:pt x="0" y="0"/>
                  </a:lnTo>
                  <a:lnTo>
                    <a:pt x="0" y="155131"/>
                  </a:lnTo>
                  <a:lnTo>
                    <a:pt x="104795" y="155131"/>
                  </a:lnTo>
                  <a:lnTo>
                    <a:pt x="104795" y="41496"/>
                  </a:lnTo>
                  <a:lnTo>
                    <a:pt x="69650" y="41496"/>
                  </a:lnTo>
                  <a:close/>
                </a:path>
              </a:pathLst>
            </a:custGeom>
            <a:solidFill>
              <a:srgbClr val="43B02A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Graphic 4">
              <a:extLst>
                <a:ext uri="{FF2B5EF4-FFF2-40B4-BE49-F238E27FC236}">
                  <a16:creationId xmlns:a16="http://schemas.microsoft.com/office/drawing/2014/main" id="{6E95ABF2-536E-47A3-9875-14FB0C68C3D2}"/>
                </a:ext>
              </a:extLst>
            </p:cNvPr>
            <p:cNvSpPr/>
            <p:nvPr/>
          </p:nvSpPr>
          <p:spPr>
            <a:xfrm>
              <a:off x="1139325" y="1488907"/>
              <a:ext cx="20447" cy="21067"/>
            </a:xfrm>
            <a:custGeom>
              <a:avLst/>
              <a:gdLst>
                <a:gd name="connsiteX0" fmla="*/ 0 w 20447"/>
                <a:gd name="connsiteY0" fmla="*/ 0 h 21067"/>
                <a:gd name="connsiteX1" fmla="*/ 0 w 20447"/>
                <a:gd name="connsiteY1" fmla="*/ 21067 h 21067"/>
                <a:gd name="connsiteX2" fmla="*/ 20448 w 20447"/>
                <a:gd name="connsiteY2" fmla="*/ 21067 h 21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447" h="21067">
                  <a:moveTo>
                    <a:pt x="0" y="0"/>
                  </a:moveTo>
                  <a:lnTo>
                    <a:pt x="0" y="21067"/>
                  </a:lnTo>
                  <a:lnTo>
                    <a:pt x="20448" y="21067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Graphic 4">
              <a:extLst>
                <a:ext uri="{FF2B5EF4-FFF2-40B4-BE49-F238E27FC236}">
                  <a16:creationId xmlns:a16="http://schemas.microsoft.com/office/drawing/2014/main" id="{EEF22850-C6B0-4279-8E7B-3CA6D54B54C7}"/>
                </a:ext>
              </a:extLst>
            </p:cNvPr>
            <p:cNvSpPr/>
            <p:nvPr/>
          </p:nvSpPr>
          <p:spPr>
            <a:xfrm>
              <a:off x="1063285" y="1480608"/>
              <a:ext cx="104795" cy="155130"/>
            </a:xfrm>
            <a:custGeom>
              <a:avLst/>
              <a:gdLst>
                <a:gd name="connsiteX0" fmla="*/ 63260 w 104795"/>
                <a:gd name="connsiteY0" fmla="*/ 35750 h 155130"/>
                <a:gd name="connsiteX1" fmla="*/ 63260 w 104795"/>
                <a:gd name="connsiteY1" fmla="*/ 0 h 155130"/>
                <a:gd name="connsiteX2" fmla="*/ 0 w 104795"/>
                <a:gd name="connsiteY2" fmla="*/ 0 h 155130"/>
                <a:gd name="connsiteX3" fmla="*/ 0 w 104795"/>
                <a:gd name="connsiteY3" fmla="*/ 37665 h 155130"/>
                <a:gd name="connsiteX4" fmla="*/ 11502 w 104795"/>
                <a:gd name="connsiteY4" fmla="*/ 37665 h 155130"/>
                <a:gd name="connsiteX5" fmla="*/ 15975 w 104795"/>
                <a:gd name="connsiteY5" fmla="*/ 39581 h 155130"/>
                <a:gd name="connsiteX6" fmla="*/ 56871 w 104795"/>
                <a:gd name="connsiteY6" fmla="*/ 80438 h 155130"/>
                <a:gd name="connsiteX7" fmla="*/ 58148 w 104795"/>
                <a:gd name="connsiteY7" fmla="*/ 82353 h 155130"/>
                <a:gd name="connsiteX8" fmla="*/ 58788 w 104795"/>
                <a:gd name="connsiteY8" fmla="*/ 85545 h 155130"/>
                <a:gd name="connsiteX9" fmla="*/ 58788 w 104795"/>
                <a:gd name="connsiteY9" fmla="*/ 155131 h 155130"/>
                <a:gd name="connsiteX10" fmla="*/ 104795 w 104795"/>
                <a:gd name="connsiteY10" fmla="*/ 155131 h 155130"/>
                <a:gd name="connsiteX11" fmla="*/ 104795 w 104795"/>
                <a:gd name="connsiteY11" fmla="*/ 41496 h 155130"/>
                <a:gd name="connsiteX12" fmla="*/ 69011 w 104795"/>
                <a:gd name="connsiteY12" fmla="*/ 41496 h 155130"/>
                <a:gd name="connsiteX13" fmla="*/ 63260 w 104795"/>
                <a:gd name="connsiteY13" fmla="*/ 35750 h 155130"/>
                <a:gd name="connsiteX14" fmla="*/ 63260 w 104795"/>
                <a:gd name="connsiteY14" fmla="*/ 35750 h 155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4795" h="155130">
                  <a:moveTo>
                    <a:pt x="63260" y="35750"/>
                  </a:moveTo>
                  <a:lnTo>
                    <a:pt x="63260" y="0"/>
                  </a:lnTo>
                  <a:lnTo>
                    <a:pt x="0" y="0"/>
                  </a:lnTo>
                  <a:lnTo>
                    <a:pt x="0" y="37665"/>
                  </a:lnTo>
                  <a:lnTo>
                    <a:pt x="11502" y="37665"/>
                  </a:lnTo>
                  <a:cubicBezTo>
                    <a:pt x="13419" y="37665"/>
                    <a:pt x="14697" y="38304"/>
                    <a:pt x="15975" y="39581"/>
                  </a:cubicBezTo>
                  <a:lnTo>
                    <a:pt x="56871" y="80438"/>
                  </a:lnTo>
                  <a:cubicBezTo>
                    <a:pt x="57509" y="81077"/>
                    <a:pt x="58148" y="81715"/>
                    <a:pt x="58148" y="82353"/>
                  </a:cubicBezTo>
                  <a:cubicBezTo>
                    <a:pt x="58788" y="83630"/>
                    <a:pt x="58788" y="84269"/>
                    <a:pt x="58788" y="85545"/>
                  </a:cubicBezTo>
                  <a:lnTo>
                    <a:pt x="58788" y="155131"/>
                  </a:lnTo>
                  <a:lnTo>
                    <a:pt x="104795" y="155131"/>
                  </a:lnTo>
                  <a:lnTo>
                    <a:pt x="104795" y="41496"/>
                  </a:lnTo>
                  <a:lnTo>
                    <a:pt x="69011" y="41496"/>
                  </a:lnTo>
                  <a:cubicBezTo>
                    <a:pt x="65816" y="42134"/>
                    <a:pt x="63260" y="38942"/>
                    <a:pt x="63260" y="35750"/>
                  </a:cubicBezTo>
                  <a:lnTo>
                    <a:pt x="63260" y="35750"/>
                  </a:lnTo>
                  <a:close/>
                </a:path>
              </a:pathLst>
            </a:custGeom>
            <a:solidFill>
              <a:srgbClr val="43B02A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Graphic 4">
              <a:extLst>
                <a:ext uri="{FF2B5EF4-FFF2-40B4-BE49-F238E27FC236}">
                  <a16:creationId xmlns:a16="http://schemas.microsoft.com/office/drawing/2014/main" id="{04488D17-E7C6-4D3A-9DAE-A9E619A9747B}"/>
                </a:ext>
              </a:extLst>
            </p:cNvPr>
            <p:cNvSpPr/>
            <p:nvPr/>
          </p:nvSpPr>
          <p:spPr>
            <a:xfrm>
              <a:off x="905454" y="1402723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1305 h 361971"/>
                <a:gd name="connsiteX2" fmla="*/ 180835 w 362309"/>
                <a:gd name="connsiteY2" fmla="*/ 361972 h 361971"/>
                <a:gd name="connsiteX3" fmla="*/ 362309 w 362309"/>
                <a:gd name="connsiteY3" fmla="*/ 181305 h 361971"/>
                <a:gd name="connsiteX4" fmla="*/ 362309 w 362309"/>
                <a:gd name="connsiteY4" fmla="*/ 181305 h 361971"/>
                <a:gd name="connsiteX5" fmla="*/ 180835 w 362309"/>
                <a:gd name="connsiteY5" fmla="*/ 0 h 361971"/>
                <a:gd name="connsiteX6" fmla="*/ 275406 w 362309"/>
                <a:gd name="connsiteY6" fmla="*/ 239399 h 361971"/>
                <a:gd name="connsiteX7" fmla="*/ 269016 w 362309"/>
                <a:gd name="connsiteY7" fmla="*/ 245783 h 361971"/>
                <a:gd name="connsiteX8" fmla="*/ 216619 w 362309"/>
                <a:gd name="connsiteY8" fmla="*/ 245783 h 361971"/>
                <a:gd name="connsiteX9" fmla="*/ 216619 w 362309"/>
                <a:gd name="connsiteY9" fmla="*/ 289833 h 361971"/>
                <a:gd name="connsiteX10" fmla="*/ 210229 w 362309"/>
                <a:gd name="connsiteY10" fmla="*/ 296217 h 361971"/>
                <a:gd name="connsiteX11" fmla="*/ 92654 w 362309"/>
                <a:gd name="connsiteY11" fmla="*/ 296217 h 361971"/>
                <a:gd name="connsiteX12" fmla="*/ 86264 w 362309"/>
                <a:gd name="connsiteY12" fmla="*/ 289833 h 361971"/>
                <a:gd name="connsiteX13" fmla="*/ 86264 w 362309"/>
                <a:gd name="connsiteY13" fmla="*/ 121296 h 361971"/>
                <a:gd name="connsiteX14" fmla="*/ 92654 w 362309"/>
                <a:gd name="connsiteY14" fmla="*/ 114912 h 361971"/>
                <a:gd name="connsiteX15" fmla="*/ 145052 w 362309"/>
                <a:gd name="connsiteY15" fmla="*/ 114912 h 361971"/>
                <a:gd name="connsiteX16" fmla="*/ 145052 w 362309"/>
                <a:gd name="connsiteY16" fmla="*/ 70862 h 361971"/>
                <a:gd name="connsiteX17" fmla="*/ 151441 w 362309"/>
                <a:gd name="connsiteY17" fmla="*/ 64478 h 361971"/>
                <a:gd name="connsiteX18" fmla="*/ 228121 w 362309"/>
                <a:gd name="connsiteY18" fmla="*/ 64478 h 361971"/>
                <a:gd name="connsiteX19" fmla="*/ 232594 w 362309"/>
                <a:gd name="connsiteY19" fmla="*/ 66393 h 361971"/>
                <a:gd name="connsiteX20" fmla="*/ 273489 w 362309"/>
                <a:gd name="connsiteY20" fmla="*/ 107889 h 361971"/>
                <a:gd name="connsiteX21" fmla="*/ 274767 w 362309"/>
                <a:gd name="connsiteY21" fmla="*/ 110443 h 361971"/>
                <a:gd name="connsiteX22" fmla="*/ 275406 w 362309"/>
                <a:gd name="connsiteY22" fmla="*/ 113635 h 361971"/>
                <a:gd name="connsiteX23" fmla="*/ 275406 w 362309"/>
                <a:gd name="connsiteY23" fmla="*/ 239399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1972"/>
                    <a:pt x="180835" y="361972"/>
                  </a:cubicBezTo>
                  <a:cubicBezTo>
                    <a:pt x="280518" y="361972"/>
                    <a:pt x="362309" y="280895"/>
                    <a:pt x="362309" y="181305"/>
                  </a:cubicBezTo>
                  <a:cubicBezTo>
                    <a:pt x="362309" y="181305"/>
                    <a:pt x="362309" y="181305"/>
                    <a:pt x="362309" y="181305"/>
                  </a:cubicBezTo>
                  <a:cubicBezTo>
                    <a:pt x="361670" y="80438"/>
                    <a:pt x="281157" y="0"/>
                    <a:pt x="180835" y="0"/>
                  </a:cubicBezTo>
                  <a:close/>
                  <a:moveTo>
                    <a:pt x="275406" y="239399"/>
                  </a:moveTo>
                  <a:cubicBezTo>
                    <a:pt x="275406" y="243230"/>
                    <a:pt x="272850" y="245783"/>
                    <a:pt x="269016" y="245783"/>
                  </a:cubicBezTo>
                  <a:lnTo>
                    <a:pt x="216619" y="245783"/>
                  </a:lnTo>
                  <a:lnTo>
                    <a:pt x="216619" y="289833"/>
                  </a:lnTo>
                  <a:cubicBezTo>
                    <a:pt x="216619" y="293663"/>
                    <a:pt x="214063" y="296217"/>
                    <a:pt x="210229" y="296217"/>
                  </a:cubicBezTo>
                  <a:lnTo>
                    <a:pt x="92654" y="296217"/>
                  </a:lnTo>
                  <a:cubicBezTo>
                    <a:pt x="88820" y="296217"/>
                    <a:pt x="86264" y="293663"/>
                    <a:pt x="86264" y="289833"/>
                  </a:cubicBezTo>
                  <a:lnTo>
                    <a:pt x="86264" y="121296"/>
                  </a:lnTo>
                  <a:cubicBezTo>
                    <a:pt x="86264" y="117465"/>
                    <a:pt x="88820" y="114912"/>
                    <a:pt x="92654" y="114912"/>
                  </a:cubicBezTo>
                  <a:lnTo>
                    <a:pt x="145052" y="114912"/>
                  </a:lnTo>
                  <a:lnTo>
                    <a:pt x="145052" y="70862"/>
                  </a:lnTo>
                  <a:cubicBezTo>
                    <a:pt x="145052" y="67032"/>
                    <a:pt x="147608" y="64478"/>
                    <a:pt x="151441" y="64478"/>
                  </a:cubicBezTo>
                  <a:lnTo>
                    <a:pt x="228121" y="64478"/>
                  </a:lnTo>
                  <a:cubicBezTo>
                    <a:pt x="230038" y="64478"/>
                    <a:pt x="231316" y="65117"/>
                    <a:pt x="232594" y="66393"/>
                  </a:cubicBezTo>
                  <a:lnTo>
                    <a:pt x="273489" y="107889"/>
                  </a:lnTo>
                  <a:cubicBezTo>
                    <a:pt x="274128" y="108528"/>
                    <a:pt x="274767" y="109166"/>
                    <a:pt x="274767" y="110443"/>
                  </a:cubicBezTo>
                  <a:cubicBezTo>
                    <a:pt x="275406" y="111081"/>
                    <a:pt x="275406" y="112358"/>
                    <a:pt x="275406" y="113635"/>
                  </a:cubicBezTo>
                  <a:lnTo>
                    <a:pt x="275406" y="239399"/>
                  </a:lnTo>
                  <a:close/>
                </a:path>
              </a:pathLst>
            </a:custGeom>
            <a:solidFill>
              <a:srgbClr val="43B02A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9" name="Graphic 4">
            <a:extLst>
              <a:ext uri="{FF2B5EF4-FFF2-40B4-BE49-F238E27FC236}">
                <a16:creationId xmlns:a16="http://schemas.microsoft.com/office/drawing/2014/main" id="{A2FBD28A-6474-4E1C-BCDC-69B9B7BA44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491791" y="4285292"/>
            <a:ext cx="664878" cy="664230"/>
            <a:chOff x="5099808" y="3824168"/>
            <a:chExt cx="361670" cy="361333"/>
          </a:xfrm>
          <a:solidFill>
            <a:srgbClr val="012169"/>
          </a:solidFill>
        </p:grpSpPr>
        <p:sp>
          <p:nvSpPr>
            <p:cNvPr id="60" name="Graphic 4">
              <a:extLst>
                <a:ext uri="{FF2B5EF4-FFF2-40B4-BE49-F238E27FC236}">
                  <a16:creationId xmlns:a16="http://schemas.microsoft.com/office/drawing/2014/main" id="{BAB4B974-2D57-4853-849D-96088096E72B}"/>
                </a:ext>
              </a:extLst>
            </p:cNvPr>
            <p:cNvSpPr/>
            <p:nvPr/>
          </p:nvSpPr>
          <p:spPr>
            <a:xfrm>
              <a:off x="5232080" y="4011218"/>
              <a:ext cx="2555" cy="24259"/>
            </a:xfrm>
            <a:custGeom>
              <a:avLst/>
              <a:gdLst>
                <a:gd name="connsiteX0" fmla="*/ 0 w 2555"/>
                <a:gd name="connsiteY0" fmla="*/ 0 h 24259"/>
                <a:gd name="connsiteX1" fmla="*/ 2556 w 2555"/>
                <a:gd name="connsiteY1" fmla="*/ 0 h 24259"/>
                <a:gd name="connsiteX2" fmla="*/ 2556 w 2555"/>
                <a:gd name="connsiteY2" fmla="*/ 24259 h 24259"/>
                <a:gd name="connsiteX3" fmla="*/ 0 w 2555"/>
                <a:gd name="connsiteY3" fmla="*/ 24259 h 24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5" h="24259">
                  <a:moveTo>
                    <a:pt x="0" y="0"/>
                  </a:moveTo>
                  <a:lnTo>
                    <a:pt x="2556" y="0"/>
                  </a:lnTo>
                  <a:lnTo>
                    <a:pt x="2556" y="24259"/>
                  </a:lnTo>
                  <a:lnTo>
                    <a:pt x="0" y="2425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Graphic 4">
              <a:extLst>
                <a:ext uri="{FF2B5EF4-FFF2-40B4-BE49-F238E27FC236}">
                  <a16:creationId xmlns:a16="http://schemas.microsoft.com/office/drawing/2014/main" id="{C458E386-405E-4680-B8A5-E39D177260AE}"/>
                </a:ext>
              </a:extLst>
            </p:cNvPr>
            <p:cNvSpPr/>
            <p:nvPr/>
          </p:nvSpPr>
          <p:spPr>
            <a:xfrm>
              <a:off x="5294701" y="4006749"/>
              <a:ext cx="2555" cy="28727"/>
            </a:xfrm>
            <a:custGeom>
              <a:avLst/>
              <a:gdLst>
                <a:gd name="connsiteX0" fmla="*/ 0 w 2555"/>
                <a:gd name="connsiteY0" fmla="*/ 0 h 28727"/>
                <a:gd name="connsiteX1" fmla="*/ 2556 w 2555"/>
                <a:gd name="connsiteY1" fmla="*/ 0 h 28727"/>
                <a:gd name="connsiteX2" fmla="*/ 2556 w 2555"/>
                <a:gd name="connsiteY2" fmla="*/ 28728 h 28727"/>
                <a:gd name="connsiteX3" fmla="*/ 0 w 2555"/>
                <a:gd name="connsiteY3" fmla="*/ 28728 h 2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5" h="28727">
                  <a:moveTo>
                    <a:pt x="0" y="0"/>
                  </a:moveTo>
                  <a:lnTo>
                    <a:pt x="2556" y="0"/>
                  </a:lnTo>
                  <a:lnTo>
                    <a:pt x="2556" y="28728"/>
                  </a:lnTo>
                  <a:lnTo>
                    <a:pt x="0" y="2872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Graphic 4">
              <a:extLst>
                <a:ext uri="{FF2B5EF4-FFF2-40B4-BE49-F238E27FC236}">
                  <a16:creationId xmlns:a16="http://schemas.microsoft.com/office/drawing/2014/main" id="{83943B2F-5E1B-4DCE-9012-AD49DEE2CF20}"/>
                </a:ext>
              </a:extLst>
            </p:cNvPr>
            <p:cNvSpPr/>
            <p:nvPr/>
          </p:nvSpPr>
          <p:spPr>
            <a:xfrm>
              <a:off x="5325373" y="4089741"/>
              <a:ext cx="6389" cy="6383"/>
            </a:xfrm>
            <a:custGeom>
              <a:avLst/>
              <a:gdLst>
                <a:gd name="connsiteX0" fmla="*/ 0 w 6389"/>
                <a:gd name="connsiteY0" fmla="*/ 0 h 6383"/>
                <a:gd name="connsiteX1" fmla="*/ 0 w 6389"/>
                <a:gd name="connsiteY1" fmla="*/ 6384 h 6383"/>
                <a:gd name="connsiteX2" fmla="*/ 0 w 6389"/>
                <a:gd name="connsiteY2" fmla="*/ 0 h 6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89" h="6383">
                  <a:moveTo>
                    <a:pt x="0" y="0"/>
                  </a:moveTo>
                  <a:lnTo>
                    <a:pt x="0" y="638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Graphic 4">
              <a:extLst>
                <a:ext uri="{FF2B5EF4-FFF2-40B4-BE49-F238E27FC236}">
                  <a16:creationId xmlns:a16="http://schemas.microsoft.com/office/drawing/2014/main" id="{2FB9DFD0-D7A8-4EDB-A7C1-F01A5B925732}"/>
                </a:ext>
              </a:extLst>
            </p:cNvPr>
            <p:cNvSpPr/>
            <p:nvPr/>
          </p:nvSpPr>
          <p:spPr>
            <a:xfrm>
              <a:off x="5326012" y="3992705"/>
              <a:ext cx="2555" cy="42772"/>
            </a:xfrm>
            <a:custGeom>
              <a:avLst/>
              <a:gdLst>
                <a:gd name="connsiteX0" fmla="*/ 0 w 2555"/>
                <a:gd name="connsiteY0" fmla="*/ 0 h 42772"/>
                <a:gd name="connsiteX1" fmla="*/ 2556 w 2555"/>
                <a:gd name="connsiteY1" fmla="*/ 0 h 42772"/>
                <a:gd name="connsiteX2" fmla="*/ 2556 w 2555"/>
                <a:gd name="connsiteY2" fmla="*/ 42773 h 42772"/>
                <a:gd name="connsiteX3" fmla="*/ 0 w 2555"/>
                <a:gd name="connsiteY3" fmla="*/ 42773 h 42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5" h="42772">
                  <a:moveTo>
                    <a:pt x="0" y="0"/>
                  </a:moveTo>
                  <a:lnTo>
                    <a:pt x="2556" y="0"/>
                  </a:lnTo>
                  <a:lnTo>
                    <a:pt x="2556" y="42773"/>
                  </a:lnTo>
                  <a:lnTo>
                    <a:pt x="0" y="42773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Graphic 4">
              <a:extLst>
                <a:ext uri="{FF2B5EF4-FFF2-40B4-BE49-F238E27FC236}">
                  <a16:creationId xmlns:a16="http://schemas.microsoft.com/office/drawing/2014/main" id="{A7E7992F-8A18-4318-B707-66544F7F357A}"/>
                </a:ext>
              </a:extLst>
            </p:cNvPr>
            <p:cNvSpPr/>
            <p:nvPr/>
          </p:nvSpPr>
          <p:spPr>
            <a:xfrm>
              <a:off x="5264030" y="4063567"/>
              <a:ext cx="32588" cy="12129"/>
            </a:xfrm>
            <a:custGeom>
              <a:avLst/>
              <a:gdLst>
                <a:gd name="connsiteX0" fmla="*/ 0 w 32588"/>
                <a:gd name="connsiteY0" fmla="*/ 12129 h 12129"/>
                <a:gd name="connsiteX1" fmla="*/ 32589 w 32588"/>
                <a:gd name="connsiteY1" fmla="*/ 12129 h 12129"/>
                <a:gd name="connsiteX2" fmla="*/ 31311 w 32588"/>
                <a:gd name="connsiteY2" fmla="*/ 0 h 12129"/>
                <a:gd name="connsiteX3" fmla="*/ 1278 w 32588"/>
                <a:gd name="connsiteY3" fmla="*/ 0 h 12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588" h="12129">
                  <a:moveTo>
                    <a:pt x="0" y="12129"/>
                  </a:moveTo>
                  <a:lnTo>
                    <a:pt x="32589" y="12129"/>
                  </a:lnTo>
                  <a:lnTo>
                    <a:pt x="31311" y="0"/>
                  </a:lnTo>
                  <a:lnTo>
                    <a:pt x="1278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Graphic 4">
              <a:extLst>
                <a:ext uri="{FF2B5EF4-FFF2-40B4-BE49-F238E27FC236}">
                  <a16:creationId xmlns:a16="http://schemas.microsoft.com/office/drawing/2014/main" id="{C7CB21DF-6E66-461A-A901-7C5C52E122B6}"/>
                </a:ext>
              </a:extLst>
            </p:cNvPr>
            <p:cNvSpPr/>
            <p:nvPr/>
          </p:nvSpPr>
          <p:spPr>
            <a:xfrm>
              <a:off x="5200769" y="4027817"/>
              <a:ext cx="2555" cy="7660"/>
            </a:xfrm>
            <a:custGeom>
              <a:avLst/>
              <a:gdLst>
                <a:gd name="connsiteX0" fmla="*/ 0 w 2555"/>
                <a:gd name="connsiteY0" fmla="*/ 0 h 7660"/>
                <a:gd name="connsiteX1" fmla="*/ 2556 w 2555"/>
                <a:gd name="connsiteY1" fmla="*/ 0 h 7660"/>
                <a:gd name="connsiteX2" fmla="*/ 2556 w 2555"/>
                <a:gd name="connsiteY2" fmla="*/ 7661 h 7660"/>
                <a:gd name="connsiteX3" fmla="*/ 0 w 2555"/>
                <a:gd name="connsiteY3" fmla="*/ 7661 h 7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5" h="7660">
                  <a:moveTo>
                    <a:pt x="0" y="0"/>
                  </a:moveTo>
                  <a:lnTo>
                    <a:pt x="2556" y="0"/>
                  </a:lnTo>
                  <a:lnTo>
                    <a:pt x="2556" y="7661"/>
                  </a:lnTo>
                  <a:lnTo>
                    <a:pt x="0" y="766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Graphic 4">
              <a:extLst>
                <a:ext uri="{FF2B5EF4-FFF2-40B4-BE49-F238E27FC236}">
                  <a16:creationId xmlns:a16="http://schemas.microsoft.com/office/drawing/2014/main" id="{7082253E-E543-4302-AF13-22BB6227C955}"/>
                </a:ext>
              </a:extLst>
            </p:cNvPr>
            <p:cNvSpPr/>
            <p:nvPr/>
          </p:nvSpPr>
          <p:spPr>
            <a:xfrm>
              <a:off x="5263391" y="3994620"/>
              <a:ext cx="2555" cy="41495"/>
            </a:xfrm>
            <a:custGeom>
              <a:avLst/>
              <a:gdLst>
                <a:gd name="connsiteX0" fmla="*/ 0 w 2555"/>
                <a:gd name="connsiteY0" fmla="*/ 0 h 41495"/>
                <a:gd name="connsiteX1" fmla="*/ 2556 w 2555"/>
                <a:gd name="connsiteY1" fmla="*/ 0 h 41495"/>
                <a:gd name="connsiteX2" fmla="*/ 2556 w 2555"/>
                <a:gd name="connsiteY2" fmla="*/ 41496 h 41495"/>
                <a:gd name="connsiteX3" fmla="*/ 0 w 2555"/>
                <a:gd name="connsiteY3" fmla="*/ 41496 h 41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5" h="41495">
                  <a:moveTo>
                    <a:pt x="0" y="0"/>
                  </a:moveTo>
                  <a:lnTo>
                    <a:pt x="2556" y="0"/>
                  </a:lnTo>
                  <a:lnTo>
                    <a:pt x="2556" y="41496"/>
                  </a:lnTo>
                  <a:lnTo>
                    <a:pt x="0" y="4149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Graphic 4">
              <a:extLst>
                <a:ext uri="{FF2B5EF4-FFF2-40B4-BE49-F238E27FC236}">
                  <a16:creationId xmlns:a16="http://schemas.microsoft.com/office/drawing/2014/main" id="{FE86A455-332F-4223-AD9A-C7F78F966EB4}"/>
                </a:ext>
              </a:extLst>
            </p:cNvPr>
            <p:cNvSpPr/>
            <p:nvPr/>
          </p:nvSpPr>
          <p:spPr>
            <a:xfrm>
              <a:off x="5357323" y="3972914"/>
              <a:ext cx="2555" cy="63201"/>
            </a:xfrm>
            <a:custGeom>
              <a:avLst/>
              <a:gdLst>
                <a:gd name="connsiteX0" fmla="*/ 0 w 2555"/>
                <a:gd name="connsiteY0" fmla="*/ 0 h 63201"/>
                <a:gd name="connsiteX1" fmla="*/ 2556 w 2555"/>
                <a:gd name="connsiteY1" fmla="*/ 0 h 63201"/>
                <a:gd name="connsiteX2" fmla="*/ 2556 w 2555"/>
                <a:gd name="connsiteY2" fmla="*/ 63202 h 63201"/>
                <a:gd name="connsiteX3" fmla="*/ 0 w 2555"/>
                <a:gd name="connsiteY3" fmla="*/ 63202 h 6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55" h="63201">
                  <a:moveTo>
                    <a:pt x="0" y="0"/>
                  </a:moveTo>
                  <a:lnTo>
                    <a:pt x="2556" y="0"/>
                  </a:lnTo>
                  <a:lnTo>
                    <a:pt x="2556" y="63202"/>
                  </a:lnTo>
                  <a:lnTo>
                    <a:pt x="0" y="6320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Graphic 4">
              <a:extLst>
                <a:ext uri="{FF2B5EF4-FFF2-40B4-BE49-F238E27FC236}">
                  <a16:creationId xmlns:a16="http://schemas.microsoft.com/office/drawing/2014/main" id="{D095F310-68ED-48FC-8C9D-872CFCF6DCCA}"/>
                </a:ext>
              </a:extLst>
            </p:cNvPr>
            <p:cNvSpPr/>
            <p:nvPr/>
          </p:nvSpPr>
          <p:spPr>
            <a:xfrm>
              <a:off x="5180322" y="3919927"/>
              <a:ext cx="200643" cy="131509"/>
            </a:xfrm>
            <a:custGeom>
              <a:avLst/>
              <a:gdLst>
                <a:gd name="connsiteX0" fmla="*/ 184669 w 200643"/>
                <a:gd name="connsiteY0" fmla="*/ 0 h 131509"/>
                <a:gd name="connsiteX1" fmla="*/ 15336 w 200643"/>
                <a:gd name="connsiteY1" fmla="*/ 0 h 131509"/>
                <a:gd name="connsiteX2" fmla="*/ 0 w 200643"/>
                <a:gd name="connsiteY2" fmla="*/ 15960 h 131509"/>
                <a:gd name="connsiteX3" fmla="*/ 0 w 200643"/>
                <a:gd name="connsiteY3" fmla="*/ 115550 h 131509"/>
                <a:gd name="connsiteX4" fmla="*/ 15336 w 200643"/>
                <a:gd name="connsiteY4" fmla="*/ 131510 h 131509"/>
                <a:gd name="connsiteX5" fmla="*/ 79874 w 200643"/>
                <a:gd name="connsiteY5" fmla="*/ 131510 h 131509"/>
                <a:gd name="connsiteX6" fmla="*/ 120770 w 200643"/>
                <a:gd name="connsiteY6" fmla="*/ 131510 h 131509"/>
                <a:gd name="connsiteX7" fmla="*/ 185308 w 200643"/>
                <a:gd name="connsiteY7" fmla="*/ 131510 h 131509"/>
                <a:gd name="connsiteX8" fmla="*/ 200644 w 200643"/>
                <a:gd name="connsiteY8" fmla="*/ 115550 h 131509"/>
                <a:gd name="connsiteX9" fmla="*/ 200644 w 200643"/>
                <a:gd name="connsiteY9" fmla="*/ 15960 h 131509"/>
                <a:gd name="connsiteX10" fmla="*/ 184669 w 200643"/>
                <a:gd name="connsiteY10" fmla="*/ 0 h 131509"/>
                <a:gd name="connsiteX11" fmla="*/ 11502 w 200643"/>
                <a:gd name="connsiteY11" fmla="*/ 70224 h 131509"/>
                <a:gd name="connsiteX12" fmla="*/ 89459 w 200643"/>
                <a:gd name="connsiteY12" fmla="*/ 28728 h 131509"/>
                <a:gd name="connsiteX13" fmla="*/ 96488 w 200643"/>
                <a:gd name="connsiteY13" fmla="*/ 29366 h 131509"/>
                <a:gd name="connsiteX14" fmla="*/ 117575 w 200643"/>
                <a:gd name="connsiteY14" fmla="*/ 47241 h 131509"/>
                <a:gd name="connsiteX15" fmla="*/ 168055 w 200643"/>
                <a:gd name="connsiteY15" fmla="*/ 14683 h 131509"/>
                <a:gd name="connsiteX16" fmla="*/ 164221 w 200643"/>
                <a:gd name="connsiteY16" fmla="*/ 8299 h 131509"/>
                <a:gd name="connsiteX17" fmla="*/ 171250 w 200643"/>
                <a:gd name="connsiteY17" fmla="*/ 2553 h 131509"/>
                <a:gd name="connsiteX18" fmla="*/ 186586 w 200643"/>
                <a:gd name="connsiteY18" fmla="*/ 4468 h 131509"/>
                <a:gd name="connsiteX19" fmla="*/ 186586 w 200643"/>
                <a:gd name="connsiteY19" fmla="*/ 4468 h 131509"/>
                <a:gd name="connsiteX20" fmla="*/ 188503 w 200643"/>
                <a:gd name="connsiteY20" fmla="*/ 5107 h 131509"/>
                <a:gd name="connsiteX21" fmla="*/ 189142 w 200643"/>
                <a:gd name="connsiteY21" fmla="*/ 5107 h 131509"/>
                <a:gd name="connsiteX22" fmla="*/ 191059 w 200643"/>
                <a:gd name="connsiteY22" fmla="*/ 7022 h 131509"/>
                <a:gd name="connsiteX23" fmla="*/ 191059 w 200643"/>
                <a:gd name="connsiteY23" fmla="*/ 7022 h 131509"/>
                <a:gd name="connsiteX24" fmla="*/ 191059 w 200643"/>
                <a:gd name="connsiteY24" fmla="*/ 7022 h 131509"/>
                <a:gd name="connsiteX25" fmla="*/ 191059 w 200643"/>
                <a:gd name="connsiteY25" fmla="*/ 7660 h 131509"/>
                <a:gd name="connsiteX26" fmla="*/ 191698 w 200643"/>
                <a:gd name="connsiteY26" fmla="*/ 9576 h 131509"/>
                <a:gd name="connsiteX27" fmla="*/ 191698 w 200643"/>
                <a:gd name="connsiteY27" fmla="*/ 10214 h 131509"/>
                <a:gd name="connsiteX28" fmla="*/ 191698 w 200643"/>
                <a:gd name="connsiteY28" fmla="*/ 12129 h 131509"/>
                <a:gd name="connsiteX29" fmla="*/ 191698 w 200643"/>
                <a:gd name="connsiteY29" fmla="*/ 12768 h 131509"/>
                <a:gd name="connsiteX30" fmla="*/ 186586 w 200643"/>
                <a:gd name="connsiteY30" fmla="*/ 27451 h 131509"/>
                <a:gd name="connsiteX31" fmla="*/ 180835 w 200643"/>
                <a:gd name="connsiteY31" fmla="*/ 31920 h 131509"/>
                <a:gd name="connsiteX32" fmla="*/ 178918 w 200643"/>
                <a:gd name="connsiteY32" fmla="*/ 31281 h 131509"/>
                <a:gd name="connsiteX33" fmla="*/ 174445 w 200643"/>
                <a:gd name="connsiteY33" fmla="*/ 25536 h 131509"/>
                <a:gd name="connsiteX34" fmla="*/ 120770 w 200643"/>
                <a:gd name="connsiteY34" fmla="*/ 60648 h 131509"/>
                <a:gd name="connsiteX35" fmla="*/ 113102 w 200643"/>
                <a:gd name="connsiteY35" fmla="*/ 60009 h 131509"/>
                <a:gd name="connsiteX36" fmla="*/ 92015 w 200643"/>
                <a:gd name="connsiteY36" fmla="*/ 42134 h 131509"/>
                <a:gd name="connsiteX37" fmla="*/ 17892 w 200643"/>
                <a:gd name="connsiteY37" fmla="*/ 81715 h 131509"/>
                <a:gd name="connsiteX38" fmla="*/ 14697 w 200643"/>
                <a:gd name="connsiteY38" fmla="*/ 82353 h 131509"/>
                <a:gd name="connsiteX39" fmla="*/ 8946 w 200643"/>
                <a:gd name="connsiteY39" fmla="*/ 79161 h 131509"/>
                <a:gd name="connsiteX40" fmla="*/ 11502 w 200643"/>
                <a:gd name="connsiteY40" fmla="*/ 70224 h 131509"/>
                <a:gd name="connsiteX41" fmla="*/ 35783 w 200643"/>
                <a:gd name="connsiteY41" fmla="*/ 122572 h 131509"/>
                <a:gd name="connsiteX42" fmla="*/ 29394 w 200643"/>
                <a:gd name="connsiteY42" fmla="*/ 128956 h 131509"/>
                <a:gd name="connsiteX43" fmla="*/ 14058 w 200643"/>
                <a:gd name="connsiteY43" fmla="*/ 128956 h 131509"/>
                <a:gd name="connsiteX44" fmla="*/ 7668 w 200643"/>
                <a:gd name="connsiteY44" fmla="*/ 122572 h 131509"/>
                <a:gd name="connsiteX45" fmla="*/ 7668 w 200643"/>
                <a:gd name="connsiteY45" fmla="*/ 102144 h 131509"/>
                <a:gd name="connsiteX46" fmla="*/ 14058 w 200643"/>
                <a:gd name="connsiteY46" fmla="*/ 95760 h 131509"/>
                <a:gd name="connsiteX47" fmla="*/ 29394 w 200643"/>
                <a:gd name="connsiteY47" fmla="*/ 95760 h 131509"/>
                <a:gd name="connsiteX48" fmla="*/ 35783 w 200643"/>
                <a:gd name="connsiteY48" fmla="*/ 102144 h 131509"/>
                <a:gd name="connsiteX49" fmla="*/ 35783 w 200643"/>
                <a:gd name="connsiteY49" fmla="*/ 122572 h 131509"/>
                <a:gd name="connsiteX50" fmla="*/ 67094 w 200643"/>
                <a:gd name="connsiteY50" fmla="*/ 122572 h 131509"/>
                <a:gd name="connsiteX51" fmla="*/ 60704 w 200643"/>
                <a:gd name="connsiteY51" fmla="*/ 128956 h 131509"/>
                <a:gd name="connsiteX52" fmla="*/ 45368 w 200643"/>
                <a:gd name="connsiteY52" fmla="*/ 128956 h 131509"/>
                <a:gd name="connsiteX53" fmla="*/ 38978 w 200643"/>
                <a:gd name="connsiteY53" fmla="*/ 122572 h 131509"/>
                <a:gd name="connsiteX54" fmla="*/ 38978 w 200643"/>
                <a:gd name="connsiteY54" fmla="*/ 85545 h 131509"/>
                <a:gd name="connsiteX55" fmla="*/ 45368 w 200643"/>
                <a:gd name="connsiteY55" fmla="*/ 79161 h 131509"/>
                <a:gd name="connsiteX56" fmla="*/ 60704 w 200643"/>
                <a:gd name="connsiteY56" fmla="*/ 79161 h 131509"/>
                <a:gd name="connsiteX57" fmla="*/ 67094 w 200643"/>
                <a:gd name="connsiteY57" fmla="*/ 85545 h 131509"/>
                <a:gd name="connsiteX58" fmla="*/ 67094 w 200643"/>
                <a:gd name="connsiteY58" fmla="*/ 122572 h 131509"/>
                <a:gd name="connsiteX59" fmla="*/ 98405 w 200643"/>
                <a:gd name="connsiteY59" fmla="*/ 122572 h 131509"/>
                <a:gd name="connsiteX60" fmla="*/ 92015 w 200643"/>
                <a:gd name="connsiteY60" fmla="*/ 128956 h 131509"/>
                <a:gd name="connsiteX61" fmla="*/ 76679 w 200643"/>
                <a:gd name="connsiteY61" fmla="*/ 128956 h 131509"/>
                <a:gd name="connsiteX62" fmla="*/ 70289 w 200643"/>
                <a:gd name="connsiteY62" fmla="*/ 122572 h 131509"/>
                <a:gd name="connsiteX63" fmla="*/ 70289 w 200643"/>
                <a:gd name="connsiteY63" fmla="*/ 68308 h 131509"/>
                <a:gd name="connsiteX64" fmla="*/ 76679 w 200643"/>
                <a:gd name="connsiteY64" fmla="*/ 61924 h 131509"/>
                <a:gd name="connsiteX65" fmla="*/ 92015 w 200643"/>
                <a:gd name="connsiteY65" fmla="*/ 61924 h 131509"/>
                <a:gd name="connsiteX66" fmla="*/ 98405 w 200643"/>
                <a:gd name="connsiteY66" fmla="*/ 68308 h 131509"/>
                <a:gd name="connsiteX67" fmla="*/ 98405 w 200643"/>
                <a:gd name="connsiteY67" fmla="*/ 122572 h 131509"/>
                <a:gd name="connsiteX68" fmla="*/ 129716 w 200643"/>
                <a:gd name="connsiteY68" fmla="*/ 122572 h 131509"/>
                <a:gd name="connsiteX69" fmla="*/ 123326 w 200643"/>
                <a:gd name="connsiteY69" fmla="*/ 128956 h 131509"/>
                <a:gd name="connsiteX70" fmla="*/ 107990 w 200643"/>
                <a:gd name="connsiteY70" fmla="*/ 128956 h 131509"/>
                <a:gd name="connsiteX71" fmla="*/ 101600 w 200643"/>
                <a:gd name="connsiteY71" fmla="*/ 122572 h 131509"/>
                <a:gd name="connsiteX72" fmla="*/ 101600 w 200643"/>
                <a:gd name="connsiteY72" fmla="*/ 80438 h 131509"/>
                <a:gd name="connsiteX73" fmla="*/ 107990 w 200643"/>
                <a:gd name="connsiteY73" fmla="*/ 74054 h 131509"/>
                <a:gd name="connsiteX74" fmla="*/ 123326 w 200643"/>
                <a:gd name="connsiteY74" fmla="*/ 74054 h 131509"/>
                <a:gd name="connsiteX75" fmla="*/ 129716 w 200643"/>
                <a:gd name="connsiteY75" fmla="*/ 80438 h 131509"/>
                <a:gd name="connsiteX76" fmla="*/ 129716 w 200643"/>
                <a:gd name="connsiteY76" fmla="*/ 122572 h 131509"/>
                <a:gd name="connsiteX77" fmla="*/ 161027 w 200643"/>
                <a:gd name="connsiteY77" fmla="*/ 122572 h 131509"/>
                <a:gd name="connsiteX78" fmla="*/ 154637 w 200643"/>
                <a:gd name="connsiteY78" fmla="*/ 128956 h 131509"/>
                <a:gd name="connsiteX79" fmla="*/ 139301 w 200643"/>
                <a:gd name="connsiteY79" fmla="*/ 128956 h 131509"/>
                <a:gd name="connsiteX80" fmla="*/ 132911 w 200643"/>
                <a:gd name="connsiteY80" fmla="*/ 122572 h 131509"/>
                <a:gd name="connsiteX81" fmla="*/ 132911 w 200643"/>
                <a:gd name="connsiteY81" fmla="*/ 67032 h 131509"/>
                <a:gd name="connsiteX82" fmla="*/ 139301 w 200643"/>
                <a:gd name="connsiteY82" fmla="*/ 60648 h 131509"/>
                <a:gd name="connsiteX83" fmla="*/ 154637 w 200643"/>
                <a:gd name="connsiteY83" fmla="*/ 60648 h 131509"/>
                <a:gd name="connsiteX84" fmla="*/ 161027 w 200643"/>
                <a:gd name="connsiteY84" fmla="*/ 67032 h 131509"/>
                <a:gd name="connsiteX85" fmla="*/ 161027 w 200643"/>
                <a:gd name="connsiteY85" fmla="*/ 122572 h 131509"/>
                <a:gd name="connsiteX86" fmla="*/ 192337 w 200643"/>
                <a:gd name="connsiteY86" fmla="*/ 122572 h 131509"/>
                <a:gd name="connsiteX87" fmla="*/ 185947 w 200643"/>
                <a:gd name="connsiteY87" fmla="*/ 128956 h 131509"/>
                <a:gd name="connsiteX88" fmla="*/ 170611 w 200643"/>
                <a:gd name="connsiteY88" fmla="*/ 128956 h 131509"/>
                <a:gd name="connsiteX89" fmla="*/ 164221 w 200643"/>
                <a:gd name="connsiteY89" fmla="*/ 122572 h 131509"/>
                <a:gd name="connsiteX90" fmla="*/ 164221 w 200643"/>
                <a:gd name="connsiteY90" fmla="*/ 46603 h 131509"/>
                <a:gd name="connsiteX91" fmla="*/ 170611 w 200643"/>
                <a:gd name="connsiteY91" fmla="*/ 40219 h 131509"/>
                <a:gd name="connsiteX92" fmla="*/ 185947 w 200643"/>
                <a:gd name="connsiteY92" fmla="*/ 40219 h 131509"/>
                <a:gd name="connsiteX93" fmla="*/ 192337 w 200643"/>
                <a:gd name="connsiteY93" fmla="*/ 46603 h 131509"/>
                <a:gd name="connsiteX94" fmla="*/ 192337 w 200643"/>
                <a:gd name="connsiteY94" fmla="*/ 122572 h 13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200643" h="131509">
                  <a:moveTo>
                    <a:pt x="184669" y="0"/>
                  </a:moveTo>
                  <a:lnTo>
                    <a:pt x="15336" y="0"/>
                  </a:lnTo>
                  <a:cubicBezTo>
                    <a:pt x="6390" y="0"/>
                    <a:pt x="0" y="7022"/>
                    <a:pt x="0" y="15960"/>
                  </a:cubicBezTo>
                  <a:lnTo>
                    <a:pt x="0" y="115550"/>
                  </a:lnTo>
                  <a:cubicBezTo>
                    <a:pt x="0" y="124488"/>
                    <a:pt x="7029" y="131510"/>
                    <a:pt x="15336" y="131510"/>
                  </a:cubicBezTo>
                  <a:lnTo>
                    <a:pt x="79874" y="131510"/>
                  </a:lnTo>
                  <a:lnTo>
                    <a:pt x="120770" y="131510"/>
                  </a:lnTo>
                  <a:lnTo>
                    <a:pt x="185308" y="131510"/>
                  </a:lnTo>
                  <a:cubicBezTo>
                    <a:pt x="194254" y="131510"/>
                    <a:pt x="200644" y="124488"/>
                    <a:pt x="200644" y="115550"/>
                  </a:cubicBezTo>
                  <a:lnTo>
                    <a:pt x="200644" y="15960"/>
                  </a:lnTo>
                  <a:cubicBezTo>
                    <a:pt x="200644" y="7022"/>
                    <a:pt x="193615" y="0"/>
                    <a:pt x="184669" y="0"/>
                  </a:cubicBezTo>
                  <a:close/>
                  <a:moveTo>
                    <a:pt x="11502" y="70224"/>
                  </a:moveTo>
                  <a:lnTo>
                    <a:pt x="89459" y="28728"/>
                  </a:lnTo>
                  <a:cubicBezTo>
                    <a:pt x="92015" y="27451"/>
                    <a:pt x="94571" y="28089"/>
                    <a:pt x="96488" y="29366"/>
                  </a:cubicBezTo>
                  <a:lnTo>
                    <a:pt x="117575" y="47241"/>
                  </a:lnTo>
                  <a:lnTo>
                    <a:pt x="168055" y="14683"/>
                  </a:lnTo>
                  <a:cubicBezTo>
                    <a:pt x="165499" y="13406"/>
                    <a:pt x="164221" y="10852"/>
                    <a:pt x="164221" y="8299"/>
                  </a:cubicBezTo>
                  <a:cubicBezTo>
                    <a:pt x="164860" y="5107"/>
                    <a:pt x="168055" y="1915"/>
                    <a:pt x="171250" y="2553"/>
                  </a:cubicBezTo>
                  <a:lnTo>
                    <a:pt x="186586" y="4468"/>
                  </a:lnTo>
                  <a:cubicBezTo>
                    <a:pt x="186586" y="4468"/>
                    <a:pt x="186586" y="4468"/>
                    <a:pt x="186586" y="4468"/>
                  </a:cubicBezTo>
                  <a:cubicBezTo>
                    <a:pt x="187225" y="4468"/>
                    <a:pt x="187864" y="5107"/>
                    <a:pt x="188503" y="5107"/>
                  </a:cubicBezTo>
                  <a:cubicBezTo>
                    <a:pt x="188503" y="5107"/>
                    <a:pt x="189142" y="5107"/>
                    <a:pt x="189142" y="5107"/>
                  </a:cubicBezTo>
                  <a:cubicBezTo>
                    <a:pt x="189781" y="5745"/>
                    <a:pt x="190420" y="6384"/>
                    <a:pt x="191059" y="7022"/>
                  </a:cubicBezTo>
                  <a:cubicBezTo>
                    <a:pt x="191059" y="7022"/>
                    <a:pt x="191059" y="7022"/>
                    <a:pt x="191059" y="7022"/>
                  </a:cubicBezTo>
                  <a:cubicBezTo>
                    <a:pt x="191059" y="7022"/>
                    <a:pt x="191059" y="7022"/>
                    <a:pt x="191059" y="7022"/>
                  </a:cubicBezTo>
                  <a:cubicBezTo>
                    <a:pt x="191059" y="7022"/>
                    <a:pt x="191059" y="7022"/>
                    <a:pt x="191059" y="7660"/>
                  </a:cubicBezTo>
                  <a:cubicBezTo>
                    <a:pt x="191698" y="8299"/>
                    <a:pt x="191698" y="8937"/>
                    <a:pt x="191698" y="9576"/>
                  </a:cubicBezTo>
                  <a:cubicBezTo>
                    <a:pt x="191698" y="9576"/>
                    <a:pt x="191698" y="10214"/>
                    <a:pt x="191698" y="10214"/>
                  </a:cubicBezTo>
                  <a:cubicBezTo>
                    <a:pt x="191698" y="10852"/>
                    <a:pt x="191698" y="11491"/>
                    <a:pt x="191698" y="12129"/>
                  </a:cubicBezTo>
                  <a:cubicBezTo>
                    <a:pt x="191698" y="12129"/>
                    <a:pt x="191698" y="12129"/>
                    <a:pt x="191698" y="12768"/>
                  </a:cubicBezTo>
                  <a:lnTo>
                    <a:pt x="186586" y="27451"/>
                  </a:lnTo>
                  <a:cubicBezTo>
                    <a:pt x="185947" y="30004"/>
                    <a:pt x="183391" y="31920"/>
                    <a:pt x="180835" y="31920"/>
                  </a:cubicBezTo>
                  <a:cubicBezTo>
                    <a:pt x="180196" y="31920"/>
                    <a:pt x="179557" y="31920"/>
                    <a:pt x="178918" y="31281"/>
                  </a:cubicBezTo>
                  <a:cubicBezTo>
                    <a:pt x="176362" y="30643"/>
                    <a:pt x="175084" y="28089"/>
                    <a:pt x="174445" y="25536"/>
                  </a:cubicBezTo>
                  <a:lnTo>
                    <a:pt x="120770" y="60648"/>
                  </a:lnTo>
                  <a:cubicBezTo>
                    <a:pt x="118214" y="61924"/>
                    <a:pt x="115019" y="61924"/>
                    <a:pt x="113102" y="60009"/>
                  </a:cubicBezTo>
                  <a:lnTo>
                    <a:pt x="92015" y="42134"/>
                  </a:lnTo>
                  <a:lnTo>
                    <a:pt x="17892" y="81715"/>
                  </a:lnTo>
                  <a:cubicBezTo>
                    <a:pt x="17253" y="82353"/>
                    <a:pt x="15975" y="82353"/>
                    <a:pt x="14697" y="82353"/>
                  </a:cubicBezTo>
                  <a:cubicBezTo>
                    <a:pt x="12141" y="82353"/>
                    <a:pt x="10224" y="81076"/>
                    <a:pt x="8946" y="79161"/>
                  </a:cubicBezTo>
                  <a:cubicBezTo>
                    <a:pt x="7029" y="75969"/>
                    <a:pt x="8307" y="72139"/>
                    <a:pt x="11502" y="70224"/>
                  </a:cubicBezTo>
                  <a:close/>
                  <a:moveTo>
                    <a:pt x="35783" y="122572"/>
                  </a:moveTo>
                  <a:cubicBezTo>
                    <a:pt x="35783" y="126403"/>
                    <a:pt x="33228" y="128956"/>
                    <a:pt x="29394" y="128956"/>
                  </a:cubicBezTo>
                  <a:lnTo>
                    <a:pt x="14058" y="128956"/>
                  </a:lnTo>
                  <a:cubicBezTo>
                    <a:pt x="10224" y="128956"/>
                    <a:pt x="7668" y="126403"/>
                    <a:pt x="7668" y="122572"/>
                  </a:cubicBezTo>
                  <a:lnTo>
                    <a:pt x="7668" y="102144"/>
                  </a:lnTo>
                  <a:cubicBezTo>
                    <a:pt x="7668" y="98313"/>
                    <a:pt x="10224" y="95760"/>
                    <a:pt x="14058" y="95760"/>
                  </a:cubicBezTo>
                  <a:lnTo>
                    <a:pt x="29394" y="95760"/>
                  </a:lnTo>
                  <a:cubicBezTo>
                    <a:pt x="33228" y="95760"/>
                    <a:pt x="35783" y="98313"/>
                    <a:pt x="35783" y="102144"/>
                  </a:cubicBezTo>
                  <a:lnTo>
                    <a:pt x="35783" y="122572"/>
                  </a:lnTo>
                  <a:close/>
                  <a:moveTo>
                    <a:pt x="67094" y="122572"/>
                  </a:moveTo>
                  <a:cubicBezTo>
                    <a:pt x="67094" y="126403"/>
                    <a:pt x="64538" y="128956"/>
                    <a:pt x="60704" y="128956"/>
                  </a:cubicBezTo>
                  <a:lnTo>
                    <a:pt x="45368" y="128956"/>
                  </a:lnTo>
                  <a:cubicBezTo>
                    <a:pt x="41535" y="128956"/>
                    <a:pt x="38978" y="126403"/>
                    <a:pt x="38978" y="122572"/>
                  </a:cubicBezTo>
                  <a:lnTo>
                    <a:pt x="38978" y="85545"/>
                  </a:lnTo>
                  <a:cubicBezTo>
                    <a:pt x="38978" y="81715"/>
                    <a:pt x="41535" y="79161"/>
                    <a:pt x="45368" y="79161"/>
                  </a:cubicBezTo>
                  <a:lnTo>
                    <a:pt x="60704" y="79161"/>
                  </a:lnTo>
                  <a:cubicBezTo>
                    <a:pt x="64538" y="79161"/>
                    <a:pt x="67094" y="81715"/>
                    <a:pt x="67094" y="85545"/>
                  </a:cubicBezTo>
                  <a:lnTo>
                    <a:pt x="67094" y="122572"/>
                  </a:lnTo>
                  <a:close/>
                  <a:moveTo>
                    <a:pt x="98405" y="122572"/>
                  </a:moveTo>
                  <a:cubicBezTo>
                    <a:pt x="98405" y="126403"/>
                    <a:pt x="95849" y="128956"/>
                    <a:pt x="92015" y="128956"/>
                  </a:cubicBezTo>
                  <a:lnTo>
                    <a:pt x="76679" y="128956"/>
                  </a:lnTo>
                  <a:cubicBezTo>
                    <a:pt x="72845" y="128956"/>
                    <a:pt x="70289" y="126403"/>
                    <a:pt x="70289" y="122572"/>
                  </a:cubicBezTo>
                  <a:lnTo>
                    <a:pt x="70289" y="68308"/>
                  </a:lnTo>
                  <a:cubicBezTo>
                    <a:pt x="70289" y="64478"/>
                    <a:pt x="72845" y="61924"/>
                    <a:pt x="76679" y="61924"/>
                  </a:cubicBezTo>
                  <a:lnTo>
                    <a:pt x="92015" y="61924"/>
                  </a:lnTo>
                  <a:cubicBezTo>
                    <a:pt x="95849" y="61924"/>
                    <a:pt x="98405" y="64478"/>
                    <a:pt x="98405" y="68308"/>
                  </a:cubicBezTo>
                  <a:lnTo>
                    <a:pt x="98405" y="122572"/>
                  </a:lnTo>
                  <a:close/>
                  <a:moveTo>
                    <a:pt x="129716" y="122572"/>
                  </a:moveTo>
                  <a:cubicBezTo>
                    <a:pt x="129716" y="126403"/>
                    <a:pt x="127160" y="128956"/>
                    <a:pt x="123326" y="128956"/>
                  </a:cubicBezTo>
                  <a:lnTo>
                    <a:pt x="107990" y="128956"/>
                  </a:lnTo>
                  <a:cubicBezTo>
                    <a:pt x="104156" y="128956"/>
                    <a:pt x="101600" y="126403"/>
                    <a:pt x="101600" y="122572"/>
                  </a:cubicBezTo>
                  <a:lnTo>
                    <a:pt x="101600" y="80438"/>
                  </a:lnTo>
                  <a:cubicBezTo>
                    <a:pt x="101600" y="76608"/>
                    <a:pt x="104156" y="74054"/>
                    <a:pt x="107990" y="74054"/>
                  </a:cubicBezTo>
                  <a:lnTo>
                    <a:pt x="123326" y="74054"/>
                  </a:lnTo>
                  <a:cubicBezTo>
                    <a:pt x="127160" y="74054"/>
                    <a:pt x="129716" y="76608"/>
                    <a:pt x="129716" y="80438"/>
                  </a:cubicBezTo>
                  <a:lnTo>
                    <a:pt x="129716" y="122572"/>
                  </a:lnTo>
                  <a:close/>
                  <a:moveTo>
                    <a:pt x="161027" y="122572"/>
                  </a:moveTo>
                  <a:cubicBezTo>
                    <a:pt x="161027" y="126403"/>
                    <a:pt x="158470" y="128956"/>
                    <a:pt x="154637" y="128956"/>
                  </a:cubicBezTo>
                  <a:lnTo>
                    <a:pt x="139301" y="128956"/>
                  </a:lnTo>
                  <a:cubicBezTo>
                    <a:pt x="135467" y="128956"/>
                    <a:pt x="132911" y="126403"/>
                    <a:pt x="132911" y="122572"/>
                  </a:cubicBezTo>
                  <a:lnTo>
                    <a:pt x="132911" y="67032"/>
                  </a:lnTo>
                  <a:cubicBezTo>
                    <a:pt x="132911" y="63201"/>
                    <a:pt x="135467" y="60648"/>
                    <a:pt x="139301" y="60648"/>
                  </a:cubicBezTo>
                  <a:lnTo>
                    <a:pt x="154637" y="60648"/>
                  </a:lnTo>
                  <a:cubicBezTo>
                    <a:pt x="158470" y="60648"/>
                    <a:pt x="161027" y="63201"/>
                    <a:pt x="161027" y="67032"/>
                  </a:cubicBezTo>
                  <a:lnTo>
                    <a:pt x="161027" y="122572"/>
                  </a:lnTo>
                  <a:close/>
                  <a:moveTo>
                    <a:pt x="192337" y="122572"/>
                  </a:moveTo>
                  <a:cubicBezTo>
                    <a:pt x="192337" y="126403"/>
                    <a:pt x="189781" y="128956"/>
                    <a:pt x="185947" y="128956"/>
                  </a:cubicBezTo>
                  <a:lnTo>
                    <a:pt x="170611" y="128956"/>
                  </a:lnTo>
                  <a:cubicBezTo>
                    <a:pt x="166777" y="128956"/>
                    <a:pt x="164221" y="126403"/>
                    <a:pt x="164221" y="122572"/>
                  </a:cubicBezTo>
                  <a:lnTo>
                    <a:pt x="164221" y="46603"/>
                  </a:lnTo>
                  <a:cubicBezTo>
                    <a:pt x="164221" y="42772"/>
                    <a:pt x="166777" y="40219"/>
                    <a:pt x="170611" y="40219"/>
                  </a:cubicBezTo>
                  <a:lnTo>
                    <a:pt x="185947" y="40219"/>
                  </a:lnTo>
                  <a:cubicBezTo>
                    <a:pt x="189781" y="40219"/>
                    <a:pt x="192337" y="42772"/>
                    <a:pt x="192337" y="46603"/>
                  </a:cubicBezTo>
                  <a:lnTo>
                    <a:pt x="192337" y="12257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Graphic 4">
              <a:extLst>
                <a:ext uri="{FF2B5EF4-FFF2-40B4-BE49-F238E27FC236}">
                  <a16:creationId xmlns:a16="http://schemas.microsoft.com/office/drawing/2014/main" id="{DD861E5C-033C-4408-A806-292FB7E361F9}"/>
                </a:ext>
              </a:extLst>
            </p:cNvPr>
            <p:cNvSpPr/>
            <p:nvPr/>
          </p:nvSpPr>
          <p:spPr>
            <a:xfrm>
              <a:off x="5099808" y="3824168"/>
              <a:ext cx="361670" cy="361333"/>
            </a:xfrm>
            <a:custGeom>
              <a:avLst/>
              <a:gdLst>
                <a:gd name="connsiteX0" fmla="*/ 180836 w 361670"/>
                <a:gd name="connsiteY0" fmla="*/ 0 h 361333"/>
                <a:gd name="connsiteX1" fmla="*/ 0 w 361670"/>
                <a:gd name="connsiteY1" fmla="*/ 180667 h 361333"/>
                <a:gd name="connsiteX2" fmla="*/ 180836 w 361670"/>
                <a:gd name="connsiteY2" fmla="*/ 361333 h 361333"/>
                <a:gd name="connsiteX3" fmla="*/ 361671 w 361670"/>
                <a:gd name="connsiteY3" fmla="*/ 180667 h 361333"/>
                <a:gd name="connsiteX4" fmla="*/ 180836 w 361670"/>
                <a:gd name="connsiteY4" fmla="*/ 0 h 361333"/>
                <a:gd name="connsiteX5" fmla="*/ 293937 w 361670"/>
                <a:gd name="connsiteY5" fmla="*/ 210671 h 361333"/>
                <a:gd name="connsiteX6" fmla="*/ 265822 w 361670"/>
                <a:gd name="connsiteY6" fmla="*/ 239399 h 361333"/>
                <a:gd name="connsiteX7" fmla="*/ 208951 w 361670"/>
                <a:gd name="connsiteY7" fmla="*/ 239399 h 361333"/>
                <a:gd name="connsiteX8" fmla="*/ 210868 w 361670"/>
                <a:gd name="connsiteY8" fmla="*/ 253444 h 361333"/>
                <a:gd name="connsiteX9" fmla="*/ 226204 w 361670"/>
                <a:gd name="connsiteY9" fmla="*/ 253444 h 361333"/>
                <a:gd name="connsiteX10" fmla="*/ 238984 w 361670"/>
                <a:gd name="connsiteY10" fmla="*/ 266212 h 361333"/>
                <a:gd name="connsiteX11" fmla="*/ 226204 w 361670"/>
                <a:gd name="connsiteY11" fmla="*/ 278980 h 361333"/>
                <a:gd name="connsiteX12" fmla="*/ 136745 w 361670"/>
                <a:gd name="connsiteY12" fmla="*/ 278980 h 361333"/>
                <a:gd name="connsiteX13" fmla="*/ 123965 w 361670"/>
                <a:gd name="connsiteY13" fmla="*/ 266212 h 361333"/>
                <a:gd name="connsiteX14" fmla="*/ 136745 w 361670"/>
                <a:gd name="connsiteY14" fmla="*/ 253444 h 361333"/>
                <a:gd name="connsiteX15" fmla="*/ 152081 w 361670"/>
                <a:gd name="connsiteY15" fmla="*/ 253444 h 361333"/>
                <a:gd name="connsiteX16" fmla="*/ 153998 w 361670"/>
                <a:gd name="connsiteY16" fmla="*/ 239399 h 361333"/>
                <a:gd name="connsiteX17" fmla="*/ 97127 w 361670"/>
                <a:gd name="connsiteY17" fmla="*/ 239399 h 361333"/>
                <a:gd name="connsiteX18" fmla="*/ 69012 w 361670"/>
                <a:gd name="connsiteY18" fmla="*/ 210671 h 361333"/>
                <a:gd name="connsiteX19" fmla="*/ 69012 w 361670"/>
                <a:gd name="connsiteY19" fmla="*/ 111081 h 361333"/>
                <a:gd name="connsiteX20" fmla="*/ 97127 w 361670"/>
                <a:gd name="connsiteY20" fmla="*/ 82353 h 361333"/>
                <a:gd name="connsiteX21" fmla="*/ 266460 w 361670"/>
                <a:gd name="connsiteY21" fmla="*/ 82353 h 361333"/>
                <a:gd name="connsiteX22" fmla="*/ 294576 w 361670"/>
                <a:gd name="connsiteY22" fmla="*/ 111081 h 361333"/>
                <a:gd name="connsiteX23" fmla="*/ 294576 w 361670"/>
                <a:gd name="connsiteY23" fmla="*/ 210671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61670" h="361333">
                  <a:moveTo>
                    <a:pt x="180836" y="0"/>
                  </a:moveTo>
                  <a:cubicBezTo>
                    <a:pt x="80513" y="0"/>
                    <a:pt x="0" y="81076"/>
                    <a:pt x="0" y="180667"/>
                  </a:cubicBezTo>
                  <a:cubicBezTo>
                    <a:pt x="0" y="280895"/>
                    <a:pt x="81152" y="361333"/>
                    <a:pt x="180836" y="361333"/>
                  </a:cubicBezTo>
                  <a:cubicBezTo>
                    <a:pt x="281157" y="361333"/>
                    <a:pt x="361671" y="280257"/>
                    <a:pt x="361671" y="180667"/>
                  </a:cubicBezTo>
                  <a:cubicBezTo>
                    <a:pt x="361671" y="81076"/>
                    <a:pt x="280518" y="0"/>
                    <a:pt x="180836" y="0"/>
                  </a:cubicBezTo>
                  <a:close/>
                  <a:moveTo>
                    <a:pt x="293937" y="210671"/>
                  </a:moveTo>
                  <a:cubicBezTo>
                    <a:pt x="293937" y="226631"/>
                    <a:pt x="281157" y="239399"/>
                    <a:pt x="265822" y="239399"/>
                  </a:cubicBezTo>
                  <a:lnTo>
                    <a:pt x="208951" y="239399"/>
                  </a:lnTo>
                  <a:lnTo>
                    <a:pt x="210868" y="253444"/>
                  </a:lnTo>
                  <a:lnTo>
                    <a:pt x="226204" y="253444"/>
                  </a:lnTo>
                  <a:cubicBezTo>
                    <a:pt x="233233" y="253444"/>
                    <a:pt x="238984" y="259190"/>
                    <a:pt x="238984" y="266212"/>
                  </a:cubicBezTo>
                  <a:cubicBezTo>
                    <a:pt x="238984" y="273234"/>
                    <a:pt x="233233" y="278980"/>
                    <a:pt x="226204" y="278980"/>
                  </a:cubicBezTo>
                  <a:lnTo>
                    <a:pt x="136745" y="278980"/>
                  </a:lnTo>
                  <a:cubicBezTo>
                    <a:pt x="129716" y="278980"/>
                    <a:pt x="123965" y="273234"/>
                    <a:pt x="123965" y="266212"/>
                  </a:cubicBezTo>
                  <a:cubicBezTo>
                    <a:pt x="123965" y="259190"/>
                    <a:pt x="129716" y="253444"/>
                    <a:pt x="136745" y="253444"/>
                  </a:cubicBezTo>
                  <a:lnTo>
                    <a:pt x="152081" y="253444"/>
                  </a:lnTo>
                  <a:lnTo>
                    <a:pt x="153998" y="239399"/>
                  </a:lnTo>
                  <a:lnTo>
                    <a:pt x="97127" y="239399"/>
                  </a:lnTo>
                  <a:cubicBezTo>
                    <a:pt x="81152" y="239399"/>
                    <a:pt x="69012" y="226631"/>
                    <a:pt x="69012" y="210671"/>
                  </a:cubicBezTo>
                  <a:lnTo>
                    <a:pt x="69012" y="111081"/>
                  </a:lnTo>
                  <a:cubicBezTo>
                    <a:pt x="69012" y="95121"/>
                    <a:pt x="81792" y="82353"/>
                    <a:pt x="97127" y="82353"/>
                  </a:cubicBezTo>
                  <a:lnTo>
                    <a:pt x="266460" y="82353"/>
                  </a:lnTo>
                  <a:cubicBezTo>
                    <a:pt x="282435" y="82353"/>
                    <a:pt x="294576" y="95121"/>
                    <a:pt x="294576" y="111081"/>
                  </a:cubicBezTo>
                  <a:lnTo>
                    <a:pt x="294576" y="210671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71" name="Graphic 4">
            <a:extLst>
              <a:ext uri="{FF2B5EF4-FFF2-40B4-BE49-F238E27FC236}">
                <a16:creationId xmlns:a16="http://schemas.microsoft.com/office/drawing/2014/main" id="{237CBE12-8B90-4AF1-838A-813307CD59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5471074" y="5565750"/>
            <a:ext cx="666023" cy="665405"/>
            <a:chOff x="2998797" y="2371173"/>
            <a:chExt cx="362309" cy="361971"/>
          </a:xfrm>
          <a:solidFill>
            <a:srgbClr val="2C5234"/>
          </a:solidFill>
        </p:grpSpPr>
        <p:sp>
          <p:nvSpPr>
            <p:cNvPr id="72" name="Graphic 4">
              <a:extLst>
                <a:ext uri="{FF2B5EF4-FFF2-40B4-BE49-F238E27FC236}">
                  <a16:creationId xmlns:a16="http://schemas.microsoft.com/office/drawing/2014/main" id="{CAF2AADA-AF69-45DA-8577-18E4C08B77A2}"/>
                </a:ext>
              </a:extLst>
            </p:cNvPr>
            <p:cNvSpPr/>
            <p:nvPr/>
          </p:nvSpPr>
          <p:spPr>
            <a:xfrm>
              <a:off x="3098480" y="2556947"/>
              <a:ext cx="30032" cy="14044"/>
            </a:xfrm>
            <a:custGeom>
              <a:avLst/>
              <a:gdLst>
                <a:gd name="connsiteX0" fmla="*/ 17253 w 30032"/>
                <a:gd name="connsiteY0" fmla="*/ 14045 h 14044"/>
                <a:gd name="connsiteX1" fmla="*/ 12780 w 30032"/>
                <a:gd name="connsiteY1" fmla="*/ 12130 h 14044"/>
                <a:gd name="connsiteX2" fmla="*/ 0 w 30032"/>
                <a:gd name="connsiteY2" fmla="*/ 0 h 14044"/>
                <a:gd name="connsiteX3" fmla="*/ 0 w 30032"/>
                <a:gd name="connsiteY3" fmla="*/ 10853 h 14044"/>
                <a:gd name="connsiteX4" fmla="*/ 3195 w 30032"/>
                <a:gd name="connsiteY4" fmla="*/ 14045 h 14044"/>
                <a:gd name="connsiteX5" fmla="*/ 26838 w 30032"/>
                <a:gd name="connsiteY5" fmla="*/ 14045 h 14044"/>
                <a:gd name="connsiteX6" fmla="*/ 30033 w 30032"/>
                <a:gd name="connsiteY6" fmla="*/ 10853 h 14044"/>
                <a:gd name="connsiteX7" fmla="*/ 30033 w 30032"/>
                <a:gd name="connsiteY7" fmla="*/ 4469 h 14044"/>
                <a:gd name="connsiteX8" fmla="*/ 22365 w 30032"/>
                <a:gd name="connsiteY8" fmla="*/ 11491 h 14044"/>
                <a:gd name="connsiteX9" fmla="*/ 17253 w 30032"/>
                <a:gd name="connsiteY9" fmla="*/ 14045 h 1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032" h="14044">
                  <a:moveTo>
                    <a:pt x="17253" y="14045"/>
                  </a:moveTo>
                  <a:cubicBezTo>
                    <a:pt x="15336" y="14045"/>
                    <a:pt x="14058" y="13406"/>
                    <a:pt x="12780" y="12130"/>
                  </a:cubicBezTo>
                  <a:lnTo>
                    <a:pt x="0" y="0"/>
                  </a:lnTo>
                  <a:lnTo>
                    <a:pt x="0" y="10853"/>
                  </a:lnTo>
                  <a:cubicBezTo>
                    <a:pt x="0" y="12768"/>
                    <a:pt x="1278" y="14045"/>
                    <a:pt x="3195" y="14045"/>
                  </a:cubicBezTo>
                  <a:lnTo>
                    <a:pt x="26838" y="14045"/>
                  </a:lnTo>
                  <a:cubicBezTo>
                    <a:pt x="28755" y="14045"/>
                    <a:pt x="30033" y="12768"/>
                    <a:pt x="30033" y="10853"/>
                  </a:cubicBezTo>
                  <a:lnTo>
                    <a:pt x="30033" y="4469"/>
                  </a:lnTo>
                  <a:lnTo>
                    <a:pt x="22365" y="11491"/>
                  </a:lnTo>
                  <a:cubicBezTo>
                    <a:pt x="21087" y="13406"/>
                    <a:pt x="19170" y="14045"/>
                    <a:pt x="17253" y="1404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Graphic 4">
              <a:extLst>
                <a:ext uri="{FF2B5EF4-FFF2-40B4-BE49-F238E27FC236}">
                  <a16:creationId xmlns:a16="http://schemas.microsoft.com/office/drawing/2014/main" id="{E231D97E-803C-460D-82D9-6D0647DB91E3}"/>
                </a:ext>
              </a:extLst>
            </p:cNvPr>
            <p:cNvSpPr/>
            <p:nvPr/>
          </p:nvSpPr>
          <p:spPr>
            <a:xfrm>
              <a:off x="3099119" y="2544179"/>
              <a:ext cx="29393" cy="12129"/>
            </a:xfrm>
            <a:custGeom>
              <a:avLst/>
              <a:gdLst>
                <a:gd name="connsiteX0" fmla="*/ 7668 w 29393"/>
                <a:gd name="connsiteY0" fmla="*/ 3192 h 12129"/>
                <a:gd name="connsiteX1" fmla="*/ 17253 w 29393"/>
                <a:gd name="connsiteY1" fmla="*/ 12130 h 12129"/>
                <a:gd name="connsiteX2" fmla="*/ 29394 w 29393"/>
                <a:gd name="connsiteY2" fmla="*/ 1277 h 12129"/>
                <a:gd name="connsiteX3" fmla="*/ 26838 w 29393"/>
                <a:gd name="connsiteY3" fmla="*/ 0 h 12129"/>
                <a:gd name="connsiteX4" fmla="*/ 3195 w 29393"/>
                <a:gd name="connsiteY4" fmla="*/ 0 h 12129"/>
                <a:gd name="connsiteX5" fmla="*/ 0 w 29393"/>
                <a:gd name="connsiteY5" fmla="*/ 2554 h 12129"/>
                <a:gd name="connsiteX6" fmla="*/ 0 w 29393"/>
                <a:gd name="connsiteY6" fmla="*/ 2554 h 12129"/>
                <a:gd name="connsiteX7" fmla="*/ 0 w 29393"/>
                <a:gd name="connsiteY7" fmla="*/ 2554 h 12129"/>
                <a:gd name="connsiteX8" fmla="*/ 7668 w 29393"/>
                <a:gd name="connsiteY8" fmla="*/ 3192 h 12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93" h="12129">
                  <a:moveTo>
                    <a:pt x="7668" y="3192"/>
                  </a:moveTo>
                  <a:lnTo>
                    <a:pt x="17253" y="12130"/>
                  </a:lnTo>
                  <a:lnTo>
                    <a:pt x="29394" y="1277"/>
                  </a:lnTo>
                  <a:cubicBezTo>
                    <a:pt x="28755" y="638"/>
                    <a:pt x="28116" y="0"/>
                    <a:pt x="26838" y="0"/>
                  </a:cubicBezTo>
                  <a:lnTo>
                    <a:pt x="3195" y="0"/>
                  </a:lnTo>
                  <a:cubicBezTo>
                    <a:pt x="1917" y="0"/>
                    <a:pt x="0" y="1277"/>
                    <a:pt x="0" y="2554"/>
                  </a:cubicBezTo>
                  <a:cubicBezTo>
                    <a:pt x="0" y="2554"/>
                    <a:pt x="0" y="2554"/>
                    <a:pt x="0" y="2554"/>
                  </a:cubicBezTo>
                  <a:lnTo>
                    <a:pt x="0" y="2554"/>
                  </a:lnTo>
                  <a:cubicBezTo>
                    <a:pt x="1917" y="638"/>
                    <a:pt x="5112" y="1277"/>
                    <a:pt x="7668" y="319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Graphic 4">
              <a:extLst>
                <a:ext uri="{FF2B5EF4-FFF2-40B4-BE49-F238E27FC236}">
                  <a16:creationId xmlns:a16="http://schemas.microsoft.com/office/drawing/2014/main" id="{AC89DD92-89E6-44C7-820F-FB2C05946101}"/>
                </a:ext>
              </a:extLst>
            </p:cNvPr>
            <p:cNvSpPr/>
            <p:nvPr/>
          </p:nvSpPr>
          <p:spPr>
            <a:xfrm>
              <a:off x="2998797" y="2371173"/>
              <a:ext cx="362309" cy="361971"/>
            </a:xfrm>
            <a:custGeom>
              <a:avLst/>
              <a:gdLst>
                <a:gd name="connsiteX0" fmla="*/ 180835 w 362309"/>
                <a:gd name="connsiteY0" fmla="*/ 0 h 361971"/>
                <a:gd name="connsiteX1" fmla="*/ 0 w 362309"/>
                <a:gd name="connsiteY1" fmla="*/ 181305 h 361971"/>
                <a:gd name="connsiteX2" fmla="*/ 181474 w 362309"/>
                <a:gd name="connsiteY2" fmla="*/ 361972 h 361971"/>
                <a:gd name="connsiteX3" fmla="*/ 362310 w 362309"/>
                <a:gd name="connsiteY3" fmla="*/ 181305 h 361971"/>
                <a:gd name="connsiteX4" fmla="*/ 180835 w 362309"/>
                <a:gd name="connsiteY4" fmla="*/ 0 h 361971"/>
                <a:gd name="connsiteX5" fmla="*/ 180835 w 362309"/>
                <a:gd name="connsiteY5" fmla="*/ 0 h 361971"/>
                <a:gd name="connsiteX6" fmla="*/ 86903 w 362309"/>
                <a:gd name="connsiteY6" fmla="*/ 106613 h 361971"/>
                <a:gd name="connsiteX7" fmla="*/ 102878 w 362309"/>
                <a:gd name="connsiteY7" fmla="*/ 90653 h 361971"/>
                <a:gd name="connsiteX8" fmla="*/ 126521 w 362309"/>
                <a:gd name="connsiteY8" fmla="*/ 90653 h 361971"/>
                <a:gd name="connsiteX9" fmla="*/ 138662 w 362309"/>
                <a:gd name="connsiteY9" fmla="*/ 96398 h 361971"/>
                <a:gd name="connsiteX10" fmla="*/ 154637 w 362309"/>
                <a:gd name="connsiteY10" fmla="*/ 81715 h 361971"/>
                <a:gd name="connsiteX11" fmla="*/ 163582 w 362309"/>
                <a:gd name="connsiteY11" fmla="*/ 81715 h 361971"/>
                <a:gd name="connsiteX12" fmla="*/ 162943 w 362309"/>
                <a:gd name="connsiteY12" fmla="*/ 90653 h 361971"/>
                <a:gd name="connsiteX13" fmla="*/ 162943 w 362309"/>
                <a:gd name="connsiteY13" fmla="*/ 90653 h 361971"/>
                <a:gd name="connsiteX14" fmla="*/ 142496 w 362309"/>
                <a:gd name="connsiteY14" fmla="*/ 109805 h 361971"/>
                <a:gd name="connsiteX15" fmla="*/ 142496 w 362309"/>
                <a:gd name="connsiteY15" fmla="*/ 127680 h 361971"/>
                <a:gd name="connsiteX16" fmla="*/ 126521 w 362309"/>
                <a:gd name="connsiteY16" fmla="*/ 143640 h 361971"/>
                <a:gd name="connsiteX17" fmla="*/ 102878 w 362309"/>
                <a:gd name="connsiteY17" fmla="*/ 143640 h 361971"/>
                <a:gd name="connsiteX18" fmla="*/ 86903 w 362309"/>
                <a:gd name="connsiteY18" fmla="*/ 127680 h 361971"/>
                <a:gd name="connsiteX19" fmla="*/ 86903 w 362309"/>
                <a:gd name="connsiteY19" fmla="*/ 106613 h 361971"/>
                <a:gd name="connsiteX20" fmla="*/ 86903 w 362309"/>
                <a:gd name="connsiteY20" fmla="*/ 175560 h 361971"/>
                <a:gd name="connsiteX21" fmla="*/ 102878 w 362309"/>
                <a:gd name="connsiteY21" fmla="*/ 159600 h 361971"/>
                <a:gd name="connsiteX22" fmla="*/ 126521 w 362309"/>
                <a:gd name="connsiteY22" fmla="*/ 159600 h 361971"/>
                <a:gd name="connsiteX23" fmla="*/ 138662 w 362309"/>
                <a:gd name="connsiteY23" fmla="*/ 165345 h 361971"/>
                <a:gd name="connsiteX24" fmla="*/ 154637 w 362309"/>
                <a:gd name="connsiteY24" fmla="*/ 150662 h 361971"/>
                <a:gd name="connsiteX25" fmla="*/ 163582 w 362309"/>
                <a:gd name="connsiteY25" fmla="*/ 151939 h 361971"/>
                <a:gd name="connsiteX26" fmla="*/ 162943 w 362309"/>
                <a:gd name="connsiteY26" fmla="*/ 160238 h 361971"/>
                <a:gd name="connsiteX27" fmla="*/ 142496 w 362309"/>
                <a:gd name="connsiteY27" fmla="*/ 179390 h 361971"/>
                <a:gd name="connsiteX28" fmla="*/ 142496 w 362309"/>
                <a:gd name="connsiteY28" fmla="*/ 197265 h 361971"/>
                <a:gd name="connsiteX29" fmla="*/ 126521 w 362309"/>
                <a:gd name="connsiteY29" fmla="*/ 213225 h 361971"/>
                <a:gd name="connsiteX30" fmla="*/ 102878 w 362309"/>
                <a:gd name="connsiteY30" fmla="*/ 213225 h 361971"/>
                <a:gd name="connsiteX31" fmla="*/ 86903 w 362309"/>
                <a:gd name="connsiteY31" fmla="*/ 197265 h 361971"/>
                <a:gd name="connsiteX32" fmla="*/ 86903 w 362309"/>
                <a:gd name="connsiteY32" fmla="*/ 175560 h 361971"/>
                <a:gd name="connsiteX33" fmla="*/ 126521 w 362309"/>
                <a:gd name="connsiteY33" fmla="*/ 281534 h 361971"/>
                <a:gd name="connsiteX34" fmla="*/ 102878 w 362309"/>
                <a:gd name="connsiteY34" fmla="*/ 281534 h 361971"/>
                <a:gd name="connsiteX35" fmla="*/ 86903 w 362309"/>
                <a:gd name="connsiteY35" fmla="*/ 265574 h 361971"/>
                <a:gd name="connsiteX36" fmla="*/ 86903 w 362309"/>
                <a:gd name="connsiteY36" fmla="*/ 243868 h 361971"/>
                <a:gd name="connsiteX37" fmla="*/ 102878 w 362309"/>
                <a:gd name="connsiteY37" fmla="*/ 227908 h 361971"/>
                <a:gd name="connsiteX38" fmla="*/ 126521 w 362309"/>
                <a:gd name="connsiteY38" fmla="*/ 227908 h 361971"/>
                <a:gd name="connsiteX39" fmla="*/ 138662 w 362309"/>
                <a:gd name="connsiteY39" fmla="*/ 233654 h 361971"/>
                <a:gd name="connsiteX40" fmla="*/ 154637 w 362309"/>
                <a:gd name="connsiteY40" fmla="*/ 218971 h 361971"/>
                <a:gd name="connsiteX41" fmla="*/ 163582 w 362309"/>
                <a:gd name="connsiteY41" fmla="*/ 220247 h 361971"/>
                <a:gd name="connsiteX42" fmla="*/ 162943 w 362309"/>
                <a:gd name="connsiteY42" fmla="*/ 228547 h 361971"/>
                <a:gd name="connsiteX43" fmla="*/ 142496 w 362309"/>
                <a:gd name="connsiteY43" fmla="*/ 247699 h 361971"/>
                <a:gd name="connsiteX44" fmla="*/ 142496 w 362309"/>
                <a:gd name="connsiteY44" fmla="*/ 265574 h 361971"/>
                <a:gd name="connsiteX45" fmla="*/ 126521 w 362309"/>
                <a:gd name="connsiteY45" fmla="*/ 281534 h 361971"/>
                <a:gd name="connsiteX46" fmla="*/ 126521 w 362309"/>
                <a:gd name="connsiteY46" fmla="*/ 281534 h 361971"/>
                <a:gd name="connsiteX47" fmla="*/ 268377 w 362309"/>
                <a:gd name="connsiteY47" fmla="*/ 281534 h 361971"/>
                <a:gd name="connsiteX48" fmla="*/ 156553 w 362309"/>
                <a:gd name="connsiteY48" fmla="*/ 281534 h 361971"/>
                <a:gd name="connsiteX49" fmla="*/ 150164 w 362309"/>
                <a:gd name="connsiteY49" fmla="*/ 275150 h 361971"/>
                <a:gd name="connsiteX50" fmla="*/ 156553 w 362309"/>
                <a:gd name="connsiteY50" fmla="*/ 268766 h 361971"/>
                <a:gd name="connsiteX51" fmla="*/ 268377 w 362309"/>
                <a:gd name="connsiteY51" fmla="*/ 268766 h 361971"/>
                <a:gd name="connsiteX52" fmla="*/ 274767 w 362309"/>
                <a:gd name="connsiteY52" fmla="*/ 275150 h 361971"/>
                <a:gd name="connsiteX53" fmla="*/ 268377 w 362309"/>
                <a:gd name="connsiteY53" fmla="*/ 281534 h 361971"/>
                <a:gd name="connsiteX54" fmla="*/ 268377 w 362309"/>
                <a:gd name="connsiteY54" fmla="*/ 212587 h 361971"/>
                <a:gd name="connsiteX55" fmla="*/ 156553 w 362309"/>
                <a:gd name="connsiteY55" fmla="*/ 212587 h 361971"/>
                <a:gd name="connsiteX56" fmla="*/ 150164 w 362309"/>
                <a:gd name="connsiteY56" fmla="*/ 206203 h 361971"/>
                <a:gd name="connsiteX57" fmla="*/ 156553 w 362309"/>
                <a:gd name="connsiteY57" fmla="*/ 199819 h 361971"/>
                <a:gd name="connsiteX58" fmla="*/ 268377 w 362309"/>
                <a:gd name="connsiteY58" fmla="*/ 199819 h 361971"/>
                <a:gd name="connsiteX59" fmla="*/ 274767 w 362309"/>
                <a:gd name="connsiteY59" fmla="*/ 206203 h 361971"/>
                <a:gd name="connsiteX60" fmla="*/ 268377 w 362309"/>
                <a:gd name="connsiteY60" fmla="*/ 212587 h 361971"/>
                <a:gd name="connsiteX61" fmla="*/ 268377 w 362309"/>
                <a:gd name="connsiteY61" fmla="*/ 144278 h 361971"/>
                <a:gd name="connsiteX62" fmla="*/ 156553 w 362309"/>
                <a:gd name="connsiteY62" fmla="*/ 144278 h 361971"/>
                <a:gd name="connsiteX63" fmla="*/ 150164 w 362309"/>
                <a:gd name="connsiteY63" fmla="*/ 137894 h 361971"/>
                <a:gd name="connsiteX64" fmla="*/ 156553 w 362309"/>
                <a:gd name="connsiteY64" fmla="*/ 131510 h 361971"/>
                <a:gd name="connsiteX65" fmla="*/ 268377 w 362309"/>
                <a:gd name="connsiteY65" fmla="*/ 131510 h 361971"/>
                <a:gd name="connsiteX66" fmla="*/ 274767 w 362309"/>
                <a:gd name="connsiteY66" fmla="*/ 137894 h 361971"/>
                <a:gd name="connsiteX67" fmla="*/ 268377 w 362309"/>
                <a:gd name="connsiteY67" fmla="*/ 144278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62309" h="361971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1972"/>
                    <a:pt x="181474" y="361972"/>
                  </a:cubicBezTo>
                  <a:cubicBezTo>
                    <a:pt x="281157" y="361972"/>
                    <a:pt x="362310" y="280895"/>
                    <a:pt x="362310" y="181305"/>
                  </a:cubicBezTo>
                  <a:cubicBezTo>
                    <a:pt x="362310" y="81077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86903" y="106613"/>
                  </a:moveTo>
                  <a:cubicBezTo>
                    <a:pt x="86903" y="97675"/>
                    <a:pt x="93932" y="90653"/>
                    <a:pt x="102878" y="90653"/>
                  </a:cubicBezTo>
                  <a:lnTo>
                    <a:pt x="126521" y="90653"/>
                  </a:lnTo>
                  <a:cubicBezTo>
                    <a:pt x="130994" y="90653"/>
                    <a:pt x="135467" y="92568"/>
                    <a:pt x="138662" y="96398"/>
                  </a:cubicBezTo>
                  <a:lnTo>
                    <a:pt x="154637" y="81715"/>
                  </a:lnTo>
                  <a:cubicBezTo>
                    <a:pt x="157192" y="79162"/>
                    <a:pt x="161027" y="79162"/>
                    <a:pt x="163582" y="81715"/>
                  </a:cubicBezTo>
                  <a:cubicBezTo>
                    <a:pt x="166138" y="84269"/>
                    <a:pt x="166138" y="88099"/>
                    <a:pt x="162943" y="90653"/>
                  </a:cubicBezTo>
                  <a:cubicBezTo>
                    <a:pt x="162943" y="90653"/>
                    <a:pt x="162943" y="90653"/>
                    <a:pt x="162943" y="90653"/>
                  </a:cubicBezTo>
                  <a:lnTo>
                    <a:pt x="142496" y="109805"/>
                  </a:lnTo>
                  <a:lnTo>
                    <a:pt x="142496" y="127680"/>
                  </a:lnTo>
                  <a:cubicBezTo>
                    <a:pt x="142496" y="136617"/>
                    <a:pt x="135467" y="143640"/>
                    <a:pt x="126521" y="143640"/>
                  </a:cubicBezTo>
                  <a:lnTo>
                    <a:pt x="102878" y="143640"/>
                  </a:lnTo>
                  <a:cubicBezTo>
                    <a:pt x="93932" y="143640"/>
                    <a:pt x="86903" y="136617"/>
                    <a:pt x="86903" y="127680"/>
                  </a:cubicBezTo>
                  <a:lnTo>
                    <a:pt x="86903" y="106613"/>
                  </a:lnTo>
                  <a:close/>
                  <a:moveTo>
                    <a:pt x="86903" y="175560"/>
                  </a:moveTo>
                  <a:cubicBezTo>
                    <a:pt x="86903" y="166622"/>
                    <a:pt x="93932" y="159600"/>
                    <a:pt x="102878" y="159600"/>
                  </a:cubicBezTo>
                  <a:lnTo>
                    <a:pt x="126521" y="159600"/>
                  </a:lnTo>
                  <a:cubicBezTo>
                    <a:pt x="130994" y="159600"/>
                    <a:pt x="135467" y="161515"/>
                    <a:pt x="138662" y="165345"/>
                  </a:cubicBezTo>
                  <a:lnTo>
                    <a:pt x="154637" y="150662"/>
                  </a:lnTo>
                  <a:cubicBezTo>
                    <a:pt x="157192" y="148747"/>
                    <a:pt x="161666" y="148747"/>
                    <a:pt x="163582" y="151939"/>
                  </a:cubicBezTo>
                  <a:cubicBezTo>
                    <a:pt x="165500" y="154492"/>
                    <a:pt x="165500" y="158323"/>
                    <a:pt x="162943" y="160238"/>
                  </a:cubicBezTo>
                  <a:lnTo>
                    <a:pt x="142496" y="179390"/>
                  </a:lnTo>
                  <a:lnTo>
                    <a:pt x="142496" y="197265"/>
                  </a:lnTo>
                  <a:cubicBezTo>
                    <a:pt x="142496" y="206203"/>
                    <a:pt x="135467" y="213225"/>
                    <a:pt x="126521" y="213225"/>
                  </a:cubicBezTo>
                  <a:lnTo>
                    <a:pt x="102878" y="213225"/>
                  </a:lnTo>
                  <a:cubicBezTo>
                    <a:pt x="93932" y="213225"/>
                    <a:pt x="86903" y="206203"/>
                    <a:pt x="86903" y="197265"/>
                  </a:cubicBezTo>
                  <a:lnTo>
                    <a:pt x="86903" y="175560"/>
                  </a:lnTo>
                  <a:close/>
                  <a:moveTo>
                    <a:pt x="126521" y="281534"/>
                  </a:moveTo>
                  <a:lnTo>
                    <a:pt x="102878" y="281534"/>
                  </a:lnTo>
                  <a:cubicBezTo>
                    <a:pt x="93932" y="281534"/>
                    <a:pt x="86903" y="274511"/>
                    <a:pt x="86903" y="265574"/>
                  </a:cubicBezTo>
                  <a:lnTo>
                    <a:pt x="86903" y="243868"/>
                  </a:lnTo>
                  <a:cubicBezTo>
                    <a:pt x="86903" y="234931"/>
                    <a:pt x="93932" y="227908"/>
                    <a:pt x="102878" y="227908"/>
                  </a:cubicBezTo>
                  <a:lnTo>
                    <a:pt x="126521" y="227908"/>
                  </a:lnTo>
                  <a:cubicBezTo>
                    <a:pt x="130994" y="227908"/>
                    <a:pt x="135467" y="229823"/>
                    <a:pt x="138662" y="233654"/>
                  </a:cubicBezTo>
                  <a:lnTo>
                    <a:pt x="154637" y="218971"/>
                  </a:lnTo>
                  <a:cubicBezTo>
                    <a:pt x="157192" y="217055"/>
                    <a:pt x="161666" y="217055"/>
                    <a:pt x="163582" y="220247"/>
                  </a:cubicBezTo>
                  <a:cubicBezTo>
                    <a:pt x="165500" y="222801"/>
                    <a:pt x="165500" y="226631"/>
                    <a:pt x="162943" y="228547"/>
                  </a:cubicBezTo>
                  <a:lnTo>
                    <a:pt x="142496" y="247699"/>
                  </a:lnTo>
                  <a:lnTo>
                    <a:pt x="142496" y="265574"/>
                  </a:lnTo>
                  <a:cubicBezTo>
                    <a:pt x="142496" y="274511"/>
                    <a:pt x="135467" y="281534"/>
                    <a:pt x="126521" y="281534"/>
                  </a:cubicBezTo>
                  <a:cubicBezTo>
                    <a:pt x="126521" y="281534"/>
                    <a:pt x="126521" y="281534"/>
                    <a:pt x="126521" y="281534"/>
                  </a:cubicBezTo>
                  <a:close/>
                  <a:moveTo>
                    <a:pt x="268377" y="281534"/>
                  </a:moveTo>
                  <a:lnTo>
                    <a:pt x="156553" y="281534"/>
                  </a:lnTo>
                  <a:cubicBezTo>
                    <a:pt x="152720" y="281534"/>
                    <a:pt x="150164" y="278980"/>
                    <a:pt x="150164" y="275150"/>
                  </a:cubicBezTo>
                  <a:cubicBezTo>
                    <a:pt x="150164" y="271319"/>
                    <a:pt x="152720" y="268766"/>
                    <a:pt x="156553" y="268766"/>
                  </a:cubicBezTo>
                  <a:lnTo>
                    <a:pt x="268377" y="268766"/>
                  </a:lnTo>
                  <a:cubicBezTo>
                    <a:pt x="272211" y="268766"/>
                    <a:pt x="274767" y="271319"/>
                    <a:pt x="274767" y="275150"/>
                  </a:cubicBezTo>
                  <a:cubicBezTo>
                    <a:pt x="274767" y="278980"/>
                    <a:pt x="271572" y="281534"/>
                    <a:pt x="268377" y="281534"/>
                  </a:cubicBezTo>
                  <a:close/>
                  <a:moveTo>
                    <a:pt x="268377" y="212587"/>
                  </a:moveTo>
                  <a:lnTo>
                    <a:pt x="156553" y="212587"/>
                  </a:lnTo>
                  <a:cubicBezTo>
                    <a:pt x="152720" y="212587"/>
                    <a:pt x="150164" y="210033"/>
                    <a:pt x="150164" y="206203"/>
                  </a:cubicBezTo>
                  <a:cubicBezTo>
                    <a:pt x="150164" y="202372"/>
                    <a:pt x="152720" y="199819"/>
                    <a:pt x="156553" y="199819"/>
                  </a:cubicBezTo>
                  <a:lnTo>
                    <a:pt x="268377" y="199819"/>
                  </a:lnTo>
                  <a:cubicBezTo>
                    <a:pt x="272211" y="199819"/>
                    <a:pt x="274767" y="202372"/>
                    <a:pt x="274767" y="206203"/>
                  </a:cubicBezTo>
                  <a:cubicBezTo>
                    <a:pt x="274767" y="210033"/>
                    <a:pt x="271572" y="212587"/>
                    <a:pt x="268377" y="212587"/>
                  </a:cubicBezTo>
                  <a:close/>
                  <a:moveTo>
                    <a:pt x="268377" y="144278"/>
                  </a:moveTo>
                  <a:lnTo>
                    <a:pt x="156553" y="144278"/>
                  </a:lnTo>
                  <a:cubicBezTo>
                    <a:pt x="152720" y="144278"/>
                    <a:pt x="150164" y="141724"/>
                    <a:pt x="150164" y="137894"/>
                  </a:cubicBezTo>
                  <a:cubicBezTo>
                    <a:pt x="150164" y="134064"/>
                    <a:pt x="152720" y="131510"/>
                    <a:pt x="156553" y="131510"/>
                  </a:cubicBezTo>
                  <a:lnTo>
                    <a:pt x="268377" y="131510"/>
                  </a:lnTo>
                  <a:cubicBezTo>
                    <a:pt x="272211" y="131510"/>
                    <a:pt x="274767" y="134064"/>
                    <a:pt x="274767" y="137894"/>
                  </a:cubicBezTo>
                  <a:cubicBezTo>
                    <a:pt x="274767" y="141724"/>
                    <a:pt x="271572" y="144278"/>
                    <a:pt x="268377" y="144278"/>
                  </a:cubicBezTo>
                  <a:close/>
                </a:path>
              </a:pathLst>
            </a:custGeom>
            <a:solidFill>
              <a:srgbClr val="0097A9"/>
            </a:solidFill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Graphic 4">
              <a:extLst>
                <a:ext uri="{FF2B5EF4-FFF2-40B4-BE49-F238E27FC236}">
                  <a16:creationId xmlns:a16="http://schemas.microsoft.com/office/drawing/2014/main" id="{6E174495-A192-40B6-AED6-2D375A60746C}"/>
                </a:ext>
              </a:extLst>
            </p:cNvPr>
            <p:cNvSpPr/>
            <p:nvPr/>
          </p:nvSpPr>
          <p:spPr>
            <a:xfrm>
              <a:off x="3099119" y="2475232"/>
              <a:ext cx="29393" cy="12129"/>
            </a:xfrm>
            <a:custGeom>
              <a:avLst/>
              <a:gdLst>
                <a:gd name="connsiteX0" fmla="*/ 7668 w 29393"/>
                <a:gd name="connsiteY0" fmla="*/ 3192 h 12129"/>
                <a:gd name="connsiteX1" fmla="*/ 17253 w 29393"/>
                <a:gd name="connsiteY1" fmla="*/ 12130 h 12129"/>
                <a:gd name="connsiteX2" fmla="*/ 29394 w 29393"/>
                <a:gd name="connsiteY2" fmla="*/ 1277 h 12129"/>
                <a:gd name="connsiteX3" fmla="*/ 26838 w 29393"/>
                <a:gd name="connsiteY3" fmla="*/ 0 h 12129"/>
                <a:gd name="connsiteX4" fmla="*/ 3195 w 29393"/>
                <a:gd name="connsiteY4" fmla="*/ 0 h 12129"/>
                <a:gd name="connsiteX5" fmla="*/ 0 w 29393"/>
                <a:gd name="connsiteY5" fmla="*/ 3192 h 12129"/>
                <a:gd name="connsiteX6" fmla="*/ 0 w 29393"/>
                <a:gd name="connsiteY6" fmla="*/ 3192 h 12129"/>
                <a:gd name="connsiteX7" fmla="*/ 7668 w 29393"/>
                <a:gd name="connsiteY7" fmla="*/ 3192 h 12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393" h="12129">
                  <a:moveTo>
                    <a:pt x="7668" y="3192"/>
                  </a:moveTo>
                  <a:lnTo>
                    <a:pt x="17253" y="12130"/>
                  </a:lnTo>
                  <a:lnTo>
                    <a:pt x="29394" y="1277"/>
                  </a:lnTo>
                  <a:cubicBezTo>
                    <a:pt x="28755" y="638"/>
                    <a:pt x="28116" y="0"/>
                    <a:pt x="26838" y="0"/>
                  </a:cubicBezTo>
                  <a:lnTo>
                    <a:pt x="3195" y="0"/>
                  </a:lnTo>
                  <a:cubicBezTo>
                    <a:pt x="1278" y="0"/>
                    <a:pt x="0" y="1277"/>
                    <a:pt x="0" y="3192"/>
                  </a:cubicBezTo>
                  <a:lnTo>
                    <a:pt x="0" y="3192"/>
                  </a:lnTo>
                  <a:cubicBezTo>
                    <a:pt x="1917" y="1277"/>
                    <a:pt x="5112" y="1277"/>
                    <a:pt x="7668" y="319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Graphic 4">
              <a:extLst>
                <a:ext uri="{FF2B5EF4-FFF2-40B4-BE49-F238E27FC236}">
                  <a16:creationId xmlns:a16="http://schemas.microsoft.com/office/drawing/2014/main" id="{6C9FCCAC-710E-48BB-8E5A-24FDEB0A0BF6}"/>
                </a:ext>
              </a:extLst>
            </p:cNvPr>
            <p:cNvSpPr/>
            <p:nvPr/>
          </p:nvSpPr>
          <p:spPr>
            <a:xfrm>
              <a:off x="3098480" y="2488638"/>
              <a:ext cx="29393" cy="14044"/>
            </a:xfrm>
            <a:custGeom>
              <a:avLst/>
              <a:gdLst>
                <a:gd name="connsiteX0" fmla="*/ 17253 w 29393"/>
                <a:gd name="connsiteY0" fmla="*/ 14045 h 14044"/>
                <a:gd name="connsiteX1" fmla="*/ 12780 w 29393"/>
                <a:gd name="connsiteY1" fmla="*/ 12130 h 14044"/>
                <a:gd name="connsiteX2" fmla="*/ 0 w 29393"/>
                <a:gd name="connsiteY2" fmla="*/ 0 h 14044"/>
                <a:gd name="connsiteX3" fmla="*/ 0 w 29393"/>
                <a:gd name="connsiteY3" fmla="*/ 10853 h 14044"/>
                <a:gd name="connsiteX4" fmla="*/ 2556 w 29393"/>
                <a:gd name="connsiteY4" fmla="*/ 14045 h 14044"/>
                <a:gd name="connsiteX5" fmla="*/ 2556 w 29393"/>
                <a:gd name="connsiteY5" fmla="*/ 14045 h 14044"/>
                <a:gd name="connsiteX6" fmla="*/ 26199 w 29393"/>
                <a:gd name="connsiteY6" fmla="*/ 14045 h 14044"/>
                <a:gd name="connsiteX7" fmla="*/ 29394 w 29393"/>
                <a:gd name="connsiteY7" fmla="*/ 11491 h 14044"/>
                <a:gd name="connsiteX8" fmla="*/ 29394 w 29393"/>
                <a:gd name="connsiteY8" fmla="*/ 11491 h 14044"/>
                <a:gd name="connsiteX9" fmla="*/ 29394 w 29393"/>
                <a:gd name="connsiteY9" fmla="*/ 5107 h 14044"/>
                <a:gd name="connsiteX10" fmla="*/ 21726 w 29393"/>
                <a:gd name="connsiteY10" fmla="*/ 12130 h 14044"/>
                <a:gd name="connsiteX11" fmla="*/ 17253 w 29393"/>
                <a:gd name="connsiteY11" fmla="*/ 14045 h 1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393" h="14044">
                  <a:moveTo>
                    <a:pt x="17253" y="14045"/>
                  </a:moveTo>
                  <a:cubicBezTo>
                    <a:pt x="15336" y="14045"/>
                    <a:pt x="14058" y="13406"/>
                    <a:pt x="12780" y="12130"/>
                  </a:cubicBezTo>
                  <a:lnTo>
                    <a:pt x="0" y="0"/>
                  </a:lnTo>
                  <a:lnTo>
                    <a:pt x="0" y="10853"/>
                  </a:lnTo>
                  <a:cubicBezTo>
                    <a:pt x="0" y="12130"/>
                    <a:pt x="1278" y="14045"/>
                    <a:pt x="2556" y="14045"/>
                  </a:cubicBezTo>
                  <a:cubicBezTo>
                    <a:pt x="2556" y="14045"/>
                    <a:pt x="2556" y="14045"/>
                    <a:pt x="2556" y="14045"/>
                  </a:cubicBezTo>
                  <a:lnTo>
                    <a:pt x="26199" y="14045"/>
                  </a:lnTo>
                  <a:cubicBezTo>
                    <a:pt x="28116" y="14045"/>
                    <a:pt x="29394" y="12768"/>
                    <a:pt x="29394" y="11491"/>
                  </a:cubicBezTo>
                  <a:cubicBezTo>
                    <a:pt x="29394" y="11491"/>
                    <a:pt x="29394" y="11491"/>
                    <a:pt x="29394" y="11491"/>
                  </a:cubicBezTo>
                  <a:lnTo>
                    <a:pt x="29394" y="5107"/>
                  </a:lnTo>
                  <a:lnTo>
                    <a:pt x="21726" y="12130"/>
                  </a:lnTo>
                  <a:cubicBezTo>
                    <a:pt x="21087" y="13406"/>
                    <a:pt x="19170" y="14045"/>
                    <a:pt x="17253" y="1404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Graphic 4">
              <a:extLst>
                <a:ext uri="{FF2B5EF4-FFF2-40B4-BE49-F238E27FC236}">
                  <a16:creationId xmlns:a16="http://schemas.microsoft.com/office/drawing/2014/main" id="{C1C93E2A-B815-40D7-9E96-B64F0D399F3E}"/>
                </a:ext>
              </a:extLst>
            </p:cNvPr>
            <p:cNvSpPr/>
            <p:nvPr/>
          </p:nvSpPr>
          <p:spPr>
            <a:xfrm>
              <a:off x="3099119" y="2612237"/>
              <a:ext cx="29393" cy="12379"/>
            </a:xfrm>
            <a:custGeom>
              <a:avLst/>
              <a:gdLst>
                <a:gd name="connsiteX0" fmla="*/ 7668 w 29393"/>
                <a:gd name="connsiteY0" fmla="*/ 3442 h 12379"/>
                <a:gd name="connsiteX1" fmla="*/ 17253 w 29393"/>
                <a:gd name="connsiteY1" fmla="*/ 12380 h 12379"/>
                <a:gd name="connsiteX2" fmla="*/ 29394 w 29393"/>
                <a:gd name="connsiteY2" fmla="*/ 1527 h 12379"/>
                <a:gd name="connsiteX3" fmla="*/ 26838 w 29393"/>
                <a:gd name="connsiteY3" fmla="*/ 250 h 12379"/>
                <a:gd name="connsiteX4" fmla="*/ 3195 w 29393"/>
                <a:gd name="connsiteY4" fmla="*/ 250 h 12379"/>
                <a:gd name="connsiteX5" fmla="*/ 0 w 29393"/>
                <a:gd name="connsiteY5" fmla="*/ 3442 h 12379"/>
                <a:gd name="connsiteX6" fmla="*/ 0 w 29393"/>
                <a:gd name="connsiteY6" fmla="*/ 3442 h 12379"/>
                <a:gd name="connsiteX7" fmla="*/ 0 w 29393"/>
                <a:gd name="connsiteY7" fmla="*/ 3442 h 12379"/>
                <a:gd name="connsiteX8" fmla="*/ 7668 w 29393"/>
                <a:gd name="connsiteY8" fmla="*/ 3442 h 12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93" h="12379">
                  <a:moveTo>
                    <a:pt x="7668" y="3442"/>
                  </a:moveTo>
                  <a:lnTo>
                    <a:pt x="17253" y="12380"/>
                  </a:lnTo>
                  <a:lnTo>
                    <a:pt x="29394" y="1527"/>
                  </a:lnTo>
                  <a:cubicBezTo>
                    <a:pt x="28755" y="250"/>
                    <a:pt x="28116" y="-388"/>
                    <a:pt x="26838" y="250"/>
                  </a:cubicBezTo>
                  <a:lnTo>
                    <a:pt x="3195" y="250"/>
                  </a:lnTo>
                  <a:cubicBezTo>
                    <a:pt x="1278" y="250"/>
                    <a:pt x="0" y="1527"/>
                    <a:pt x="0" y="3442"/>
                  </a:cubicBezTo>
                  <a:cubicBezTo>
                    <a:pt x="0" y="3442"/>
                    <a:pt x="0" y="3442"/>
                    <a:pt x="0" y="3442"/>
                  </a:cubicBezTo>
                  <a:lnTo>
                    <a:pt x="0" y="3442"/>
                  </a:lnTo>
                  <a:cubicBezTo>
                    <a:pt x="1917" y="1527"/>
                    <a:pt x="5112" y="1527"/>
                    <a:pt x="7668" y="3442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Graphic 4">
              <a:extLst>
                <a:ext uri="{FF2B5EF4-FFF2-40B4-BE49-F238E27FC236}">
                  <a16:creationId xmlns:a16="http://schemas.microsoft.com/office/drawing/2014/main" id="{8556655F-848C-453F-84F1-2B2F51492BDF}"/>
                </a:ext>
              </a:extLst>
            </p:cNvPr>
            <p:cNvSpPr/>
            <p:nvPr/>
          </p:nvSpPr>
          <p:spPr>
            <a:xfrm>
              <a:off x="3098480" y="2625894"/>
              <a:ext cx="30032" cy="14044"/>
            </a:xfrm>
            <a:custGeom>
              <a:avLst/>
              <a:gdLst>
                <a:gd name="connsiteX0" fmla="*/ 17253 w 30032"/>
                <a:gd name="connsiteY0" fmla="*/ 14045 h 14044"/>
                <a:gd name="connsiteX1" fmla="*/ 12780 w 30032"/>
                <a:gd name="connsiteY1" fmla="*/ 12130 h 14044"/>
                <a:gd name="connsiteX2" fmla="*/ 0 w 30032"/>
                <a:gd name="connsiteY2" fmla="*/ 0 h 14044"/>
                <a:gd name="connsiteX3" fmla="*/ 0 w 30032"/>
                <a:gd name="connsiteY3" fmla="*/ 10853 h 14044"/>
                <a:gd name="connsiteX4" fmla="*/ 3195 w 30032"/>
                <a:gd name="connsiteY4" fmla="*/ 14045 h 14044"/>
                <a:gd name="connsiteX5" fmla="*/ 26838 w 30032"/>
                <a:gd name="connsiteY5" fmla="*/ 14045 h 14044"/>
                <a:gd name="connsiteX6" fmla="*/ 30033 w 30032"/>
                <a:gd name="connsiteY6" fmla="*/ 10853 h 14044"/>
                <a:gd name="connsiteX7" fmla="*/ 30033 w 30032"/>
                <a:gd name="connsiteY7" fmla="*/ 4469 h 14044"/>
                <a:gd name="connsiteX8" fmla="*/ 22365 w 30032"/>
                <a:gd name="connsiteY8" fmla="*/ 11491 h 14044"/>
                <a:gd name="connsiteX9" fmla="*/ 17253 w 30032"/>
                <a:gd name="connsiteY9" fmla="*/ 14045 h 14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032" h="14044">
                  <a:moveTo>
                    <a:pt x="17253" y="14045"/>
                  </a:moveTo>
                  <a:cubicBezTo>
                    <a:pt x="15336" y="14045"/>
                    <a:pt x="14058" y="13406"/>
                    <a:pt x="12780" y="12130"/>
                  </a:cubicBezTo>
                  <a:lnTo>
                    <a:pt x="0" y="0"/>
                  </a:lnTo>
                  <a:lnTo>
                    <a:pt x="0" y="10853"/>
                  </a:lnTo>
                  <a:cubicBezTo>
                    <a:pt x="0" y="12768"/>
                    <a:pt x="1278" y="14045"/>
                    <a:pt x="3195" y="14045"/>
                  </a:cubicBezTo>
                  <a:lnTo>
                    <a:pt x="26838" y="14045"/>
                  </a:lnTo>
                  <a:cubicBezTo>
                    <a:pt x="28755" y="14045"/>
                    <a:pt x="30033" y="12768"/>
                    <a:pt x="30033" y="10853"/>
                  </a:cubicBezTo>
                  <a:lnTo>
                    <a:pt x="30033" y="4469"/>
                  </a:lnTo>
                  <a:lnTo>
                    <a:pt x="22365" y="11491"/>
                  </a:lnTo>
                  <a:cubicBezTo>
                    <a:pt x="21087" y="13406"/>
                    <a:pt x="19170" y="14045"/>
                    <a:pt x="17253" y="14045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80" name="object 3">
            <a:extLst>
              <a:ext uri="{FF2B5EF4-FFF2-40B4-BE49-F238E27FC236}">
                <a16:creationId xmlns:a16="http://schemas.microsoft.com/office/drawing/2014/main" id="{55CDAF23-BC45-4072-9D0C-CAE81F9886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53028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bject 3">
            <a:extLst>
              <a:ext uri="{FF2B5EF4-FFF2-40B4-BE49-F238E27FC236}">
                <a16:creationId xmlns:a16="http://schemas.microsoft.com/office/drawing/2014/main" id="{9B6A5DD2-1169-44A2-A7A4-E93937DC896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50593" y="300688"/>
            <a:ext cx="10745725" cy="64248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29209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licies and Procedures: Practice What You Preach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Adopt your policy within the federal guidelin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pic>
        <p:nvPicPr>
          <p:cNvPr id="16" name="object 3">
            <a:extLst>
              <a:ext uri="{FF2B5EF4-FFF2-40B4-BE49-F238E27FC236}">
                <a16:creationId xmlns:a16="http://schemas.microsoft.com/office/drawing/2014/main" id="{4AFB84F3-2043-4D0B-8986-F0411D055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BB68F5D4-44CD-4786-8192-701E64551E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66898" y="3732659"/>
            <a:ext cx="1280160" cy="128016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6458B7DB-28A0-43C5-B6C7-DFC8DFC860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66898" y="5107242"/>
            <a:ext cx="1280160" cy="128016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69894927-EBCC-4FCF-98EF-ADEC6FB14C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47932" y="3810257"/>
            <a:ext cx="1280160" cy="128016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BADC6D2F-6F00-44B9-8389-4F343BD8B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47932" y="5060503"/>
            <a:ext cx="1280160" cy="128016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4F103039-90D7-435C-8459-DE0DDDF04B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2250728" y="1892528"/>
            <a:ext cx="2492261" cy="16046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DECE9F3-D6BA-46EB-9847-051EE38DFA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5078979" y="1892528"/>
            <a:ext cx="2654797" cy="16046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E5EB9EC-C14B-4F73-8F04-8D681E36FD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gray">
          <a:xfrm>
            <a:off x="8069767" y="1892528"/>
            <a:ext cx="2654797" cy="16046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67113C4-ACF2-4DA3-8DBC-3179B5BD28FE}"/>
              </a:ext>
            </a:extLst>
          </p:cNvPr>
          <p:cNvSpPr/>
          <p:nvPr/>
        </p:nvSpPr>
        <p:spPr bwMode="gray">
          <a:xfrm rot="495140">
            <a:off x="-119164" y="2680792"/>
            <a:ext cx="2065765" cy="384010"/>
          </a:xfrm>
          <a:custGeom>
            <a:avLst/>
            <a:gdLst>
              <a:gd name="connsiteX0" fmla="*/ 0 w 2065765"/>
              <a:gd name="connsiteY0" fmla="*/ 0 h 384010"/>
              <a:gd name="connsiteX1" fmla="*/ 667931 w 2065765"/>
              <a:gd name="connsiteY1" fmla="*/ 0 h 384010"/>
              <a:gd name="connsiteX2" fmla="*/ 1377177 w 2065765"/>
              <a:gd name="connsiteY2" fmla="*/ 0 h 384010"/>
              <a:gd name="connsiteX3" fmla="*/ 2065765 w 2065765"/>
              <a:gd name="connsiteY3" fmla="*/ 0 h 384010"/>
              <a:gd name="connsiteX4" fmla="*/ 2065765 w 2065765"/>
              <a:gd name="connsiteY4" fmla="*/ 384010 h 384010"/>
              <a:gd name="connsiteX5" fmla="*/ 1356519 w 2065765"/>
              <a:gd name="connsiteY5" fmla="*/ 384010 h 384010"/>
              <a:gd name="connsiteX6" fmla="*/ 729904 w 2065765"/>
              <a:gd name="connsiteY6" fmla="*/ 384010 h 384010"/>
              <a:gd name="connsiteX7" fmla="*/ 0 w 2065765"/>
              <a:gd name="connsiteY7" fmla="*/ 384010 h 384010"/>
              <a:gd name="connsiteX8" fmla="*/ 0 w 2065765"/>
              <a:gd name="connsiteY8" fmla="*/ 0 h 384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65765" h="384010" extrusionOk="0">
                <a:moveTo>
                  <a:pt x="0" y="0"/>
                </a:moveTo>
                <a:cubicBezTo>
                  <a:pt x="218843" y="14297"/>
                  <a:pt x="342035" y="-15114"/>
                  <a:pt x="667931" y="0"/>
                </a:cubicBezTo>
                <a:cubicBezTo>
                  <a:pt x="993827" y="15114"/>
                  <a:pt x="1079091" y="-12672"/>
                  <a:pt x="1377177" y="0"/>
                </a:cubicBezTo>
                <a:cubicBezTo>
                  <a:pt x="1675263" y="12672"/>
                  <a:pt x="1795449" y="14492"/>
                  <a:pt x="2065765" y="0"/>
                </a:cubicBezTo>
                <a:cubicBezTo>
                  <a:pt x="2048720" y="148659"/>
                  <a:pt x="2060535" y="279115"/>
                  <a:pt x="2065765" y="384010"/>
                </a:cubicBezTo>
                <a:cubicBezTo>
                  <a:pt x="1853747" y="370218"/>
                  <a:pt x="1660518" y="418037"/>
                  <a:pt x="1356519" y="384010"/>
                </a:cubicBezTo>
                <a:cubicBezTo>
                  <a:pt x="1052520" y="349983"/>
                  <a:pt x="863840" y="382390"/>
                  <a:pt x="729904" y="384010"/>
                </a:cubicBezTo>
                <a:cubicBezTo>
                  <a:pt x="595968" y="385630"/>
                  <a:pt x="326903" y="404526"/>
                  <a:pt x="0" y="384010"/>
                </a:cubicBezTo>
                <a:cubicBezTo>
                  <a:pt x="-7516" y="300126"/>
                  <a:pt x="2641" y="135181"/>
                  <a:pt x="0" y="0"/>
                </a:cubicBezTo>
                <a:close/>
              </a:path>
            </a:pathLst>
          </a:custGeom>
          <a:noFill/>
          <a:ln w="12700" algn="ctr">
            <a:noFill/>
            <a:miter lim="800000"/>
            <a:headEnd/>
            <a:tailEnd/>
            <a:extLst>
              <a:ext uri="{C807C97D-BFC1-408E-A445-0C87EB9F89A2}">
                <ask:lineSketchStyleProps xmlns:ask="http://schemas.microsoft.com/office/drawing/2018/sketchyshapes" sd="3182535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les of the Road</a:t>
            </a:r>
            <a:endParaRPr lang="en-US" sz="16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8" name="Picture 67">
            <a:extLst>
              <a:ext uri="{FF2B5EF4-FFF2-40B4-BE49-F238E27FC236}">
                <a16:creationId xmlns:a16="http://schemas.microsoft.com/office/drawing/2014/main" id="{160C7CBC-B3CF-4B03-BD61-E83023349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96" y="2395977"/>
            <a:ext cx="12188825" cy="215827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5C6CB394-7640-4D41-8DB1-20843B1B4953}"/>
              </a:ext>
            </a:extLst>
          </p:cNvPr>
          <p:cNvSpPr txBox="1"/>
          <p:nvPr/>
        </p:nvSpPr>
        <p:spPr>
          <a:xfrm>
            <a:off x="2536841" y="2149638"/>
            <a:ext cx="2058122" cy="83099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Light" charset="0"/>
                <a:cs typeface="Chronicle Display Light" charset="0"/>
              </a:rPr>
              <a:t>If processes don’t align with policies, update them</a:t>
            </a:r>
            <a:r>
              <a:rPr lang="en-US" sz="1600" kern="1200" dirty="0">
                <a:solidFill>
                  <a:srgbClr val="000000"/>
                </a:solidFill>
                <a:latin typeface="Open Sans"/>
                <a:ea typeface="Chronicle Display Light" charset="0"/>
                <a:cs typeface="Chronicle Display Light" charset="0"/>
              </a:rPr>
              <a:t>.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Light" charset="0"/>
              <a:cs typeface="Chronicle Display Light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FA746C1-2596-4F8B-9773-E05E03E0AC7A}"/>
              </a:ext>
            </a:extLst>
          </p:cNvPr>
          <p:cNvSpPr txBox="1"/>
          <p:nvPr/>
        </p:nvSpPr>
        <p:spPr>
          <a:xfrm>
            <a:off x="5184971" y="2149638"/>
            <a:ext cx="2496083" cy="83099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Light" charset="0"/>
                <a:cs typeface="Chronicle Display Light" charset="0"/>
              </a:rPr>
              <a:t>Follow the most </a:t>
            </a:r>
            <a:b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Light" charset="0"/>
                <a:cs typeface="Chronicle Display Light" charset="0"/>
              </a:rPr>
            </a:b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Light" charset="0"/>
                <a:cs typeface="Chronicle Display Light" charset="0"/>
              </a:rPr>
              <a:t>stringent of federal, state, and local guidelines</a:t>
            </a:r>
            <a:r>
              <a:rPr lang="en-US" sz="1600" kern="1200" dirty="0">
                <a:solidFill>
                  <a:srgbClr val="000000"/>
                </a:solidFill>
                <a:latin typeface="Open Sans"/>
                <a:ea typeface="Chronicle Display Light" charset="0"/>
                <a:cs typeface="Chronicle Display Light" charset="0"/>
              </a:rPr>
              <a:t>.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Light" charset="0"/>
              <a:cs typeface="Chronicle Display Light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3FD60A8-F4A6-48F3-9A81-F40DBA3356ED}"/>
              </a:ext>
            </a:extLst>
          </p:cNvPr>
          <p:cNvSpPr txBox="1"/>
          <p:nvPr/>
        </p:nvSpPr>
        <p:spPr>
          <a:xfrm>
            <a:off x="8295374" y="2149638"/>
            <a:ext cx="2239544" cy="830997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Light" charset="0"/>
                <a:cs typeface="Chronicle Display Light" charset="0"/>
              </a:rPr>
              <a:t>Regularly train employees on policies and procedures</a:t>
            </a:r>
            <a:r>
              <a:rPr lang="en-US" sz="1600" kern="1200" dirty="0">
                <a:solidFill>
                  <a:srgbClr val="000000"/>
                </a:solidFill>
                <a:latin typeface="Open Sans"/>
                <a:ea typeface="Chronicle Display Light" charset="0"/>
                <a:cs typeface="Chronicle Display Light" charset="0"/>
              </a:rPr>
              <a:t>.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Light" charset="0"/>
              <a:cs typeface="Chronicle Display Light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694949" y="4003470"/>
            <a:ext cx="3252983" cy="104129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urchase Orders</a:t>
            </a:r>
          </a:p>
          <a:p>
            <a:r>
              <a:rPr lang="en-GB" sz="1400" dirty="0">
                <a:solidFill>
                  <a:srgbClr val="53565A"/>
                </a:solidFill>
                <a:latin typeface="Open Sans"/>
                <a:ea typeface="Open Sans"/>
                <a:cs typeface="Open Sans"/>
              </a:rPr>
              <a:t>Obtain and document required approvals for expenditures in accordance with purchasing policy.</a:t>
            </a:r>
            <a:endParaRPr lang="en-GB" sz="1400" dirty="0">
              <a:solidFill>
                <a:srgbClr val="53565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7267428" y="3971524"/>
            <a:ext cx="3621396" cy="104129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400" b="1" dirty="0">
                <a:solidFill>
                  <a:schemeClr val="tx2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curement</a:t>
            </a:r>
          </a:p>
          <a:p>
            <a:r>
              <a:rPr lang="en-GB" sz="1400" dirty="0">
                <a:solidFill>
                  <a:srgbClr val="53565A"/>
                </a:solidFill>
                <a:latin typeface="Open Sans"/>
                <a:ea typeface="Open Sans"/>
                <a:cs typeface="Open Sans"/>
              </a:rPr>
              <a:t>Some LEA policies have stricter procurement thresholds than federal and/or state requirements. LEAs must adhere to the most stringent requirements.</a:t>
            </a:r>
            <a:endParaRPr lang="en-GB" sz="1400" dirty="0">
              <a:solidFill>
                <a:srgbClr val="53565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2769595" y="5226675"/>
            <a:ext cx="2854980" cy="104129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400" b="1" dirty="0">
                <a:solidFill>
                  <a:srgbClr val="DAA6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pitalized Equipment</a:t>
            </a:r>
          </a:p>
          <a:p>
            <a:r>
              <a:rPr lang="en-GB" sz="1400" dirty="0">
                <a:solidFill>
                  <a:srgbClr val="53565A"/>
                </a:solidFill>
                <a:latin typeface="Open Sans"/>
                <a:ea typeface="Open Sans"/>
                <a:cs typeface="Open Sans"/>
              </a:rPr>
              <a:t>Capitalize equipment based on their capitalization threshold, which may be stricter than federal requirements.</a:t>
            </a:r>
            <a:endParaRPr lang="en-GB" sz="1400" dirty="0">
              <a:solidFill>
                <a:srgbClr val="53565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7296116" y="5194729"/>
            <a:ext cx="3592708" cy="104129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400" b="1" dirty="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ersonally Identifiable Information (PII)</a:t>
            </a:r>
          </a:p>
          <a:p>
            <a:r>
              <a:rPr lang="en-GB" sz="1400" dirty="0">
                <a:solidFill>
                  <a:srgbClr val="53565A"/>
                </a:solidFill>
                <a:latin typeface="Open Sans"/>
                <a:ea typeface="Open Sans"/>
                <a:cs typeface="Open Sans"/>
              </a:rPr>
              <a:t>PII is an asset that must be protected. LEAs should maintain, </a:t>
            </a:r>
            <a:r>
              <a:rPr lang="en-GB" sz="1400" b="1" dirty="0">
                <a:solidFill>
                  <a:srgbClr val="53565A"/>
                </a:solidFill>
                <a:latin typeface="Open Sans"/>
                <a:ea typeface="Open Sans"/>
                <a:cs typeface="Open Sans"/>
              </a:rPr>
              <a:t>train</a:t>
            </a:r>
            <a:r>
              <a:rPr lang="en-GB" sz="1400" dirty="0">
                <a:solidFill>
                  <a:srgbClr val="53565A"/>
                </a:solidFill>
                <a:latin typeface="Open Sans"/>
                <a:ea typeface="Open Sans"/>
                <a:cs typeface="Open Sans"/>
              </a:rPr>
              <a:t> employees on, and adhere to policies that govern its collection, storage, and use.</a:t>
            </a:r>
            <a:endParaRPr lang="en-GB" sz="1400" dirty="0">
              <a:solidFill>
                <a:srgbClr val="53565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A45E9BD-F25D-48D3-9EA2-23218B8B6F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284775" y="1046637"/>
            <a:ext cx="1097280" cy="1097280"/>
            <a:chOff x="4883553" y="1437834"/>
            <a:chExt cx="1303795" cy="125888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53D35DAF-2D54-4640-AF07-6E046D5E48BC}"/>
                </a:ext>
              </a:extLst>
            </p:cNvPr>
            <p:cNvSpPr/>
            <p:nvPr/>
          </p:nvSpPr>
          <p:spPr bwMode="gray">
            <a:xfrm>
              <a:off x="4883553" y="1437834"/>
              <a:ext cx="1303795" cy="1258880"/>
            </a:xfrm>
            <a:prstGeom prst="ellipse">
              <a:avLst/>
            </a:prstGeom>
            <a:solidFill>
              <a:srgbClr val="00B050"/>
            </a:solidFill>
            <a:ln w="762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75E8312-F9FD-442D-925B-88CA0DBDF70E}"/>
                </a:ext>
              </a:extLst>
            </p:cNvPr>
            <p:cNvSpPr txBox="1"/>
            <p:nvPr/>
          </p:nvSpPr>
          <p:spPr>
            <a:xfrm>
              <a:off x="4971501" y="1550453"/>
              <a:ext cx="112789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Chronicle Display Light" charset="0"/>
                  <a:cs typeface="Chronicle Display Light" charset="0"/>
                </a:rPr>
                <a:t> 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AE641968-7BF4-43FB-8CA9-81694301725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19398" y="1651222"/>
              <a:ext cx="832104" cy="832104"/>
              <a:chOff x="2316163" y="4175125"/>
              <a:chExt cx="522288" cy="522288"/>
            </a:xfrm>
            <a:solidFill>
              <a:schemeClr val="bg1"/>
            </a:solidFill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2C244FE5-54A1-461A-B43D-C4C1A2F2FC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16163" y="4175125"/>
                <a:ext cx="522288" cy="522288"/>
              </a:xfrm>
              <a:custGeom>
                <a:avLst/>
                <a:gdLst>
                  <a:gd name="T0" fmla="*/ 312 w 657"/>
                  <a:gd name="T1" fmla="*/ 657 h 657"/>
                  <a:gd name="T2" fmla="*/ 262 w 657"/>
                  <a:gd name="T3" fmla="*/ 650 h 657"/>
                  <a:gd name="T4" fmla="*/ 200 w 657"/>
                  <a:gd name="T5" fmla="*/ 632 h 657"/>
                  <a:gd name="T6" fmla="*/ 120 w 657"/>
                  <a:gd name="T7" fmla="*/ 582 h 657"/>
                  <a:gd name="T8" fmla="*/ 55 w 657"/>
                  <a:gd name="T9" fmla="*/ 512 h 657"/>
                  <a:gd name="T10" fmla="*/ 15 w 657"/>
                  <a:gd name="T11" fmla="*/ 426 h 657"/>
                  <a:gd name="T12" fmla="*/ 3 w 657"/>
                  <a:gd name="T13" fmla="*/ 379 h 657"/>
                  <a:gd name="T14" fmla="*/ 0 w 657"/>
                  <a:gd name="T15" fmla="*/ 329 h 657"/>
                  <a:gd name="T16" fmla="*/ 2 w 657"/>
                  <a:gd name="T17" fmla="*/ 296 h 657"/>
                  <a:gd name="T18" fmla="*/ 10 w 657"/>
                  <a:gd name="T19" fmla="*/ 246 h 657"/>
                  <a:gd name="T20" fmla="*/ 39 w 657"/>
                  <a:gd name="T21" fmla="*/ 172 h 657"/>
                  <a:gd name="T22" fmla="*/ 96 w 657"/>
                  <a:gd name="T23" fmla="*/ 97 h 657"/>
                  <a:gd name="T24" fmla="*/ 172 w 657"/>
                  <a:gd name="T25" fmla="*/ 39 h 657"/>
                  <a:gd name="T26" fmla="*/ 246 w 657"/>
                  <a:gd name="T27" fmla="*/ 10 h 657"/>
                  <a:gd name="T28" fmla="*/ 294 w 657"/>
                  <a:gd name="T29" fmla="*/ 2 h 657"/>
                  <a:gd name="T30" fmla="*/ 328 w 657"/>
                  <a:gd name="T31" fmla="*/ 0 h 657"/>
                  <a:gd name="T32" fmla="*/ 379 w 657"/>
                  <a:gd name="T33" fmla="*/ 4 h 657"/>
                  <a:gd name="T34" fmla="*/ 426 w 657"/>
                  <a:gd name="T35" fmla="*/ 15 h 657"/>
                  <a:gd name="T36" fmla="*/ 512 w 657"/>
                  <a:gd name="T37" fmla="*/ 57 h 657"/>
                  <a:gd name="T38" fmla="*/ 582 w 657"/>
                  <a:gd name="T39" fmla="*/ 120 h 657"/>
                  <a:gd name="T40" fmla="*/ 632 w 657"/>
                  <a:gd name="T41" fmla="*/ 200 h 657"/>
                  <a:gd name="T42" fmla="*/ 650 w 657"/>
                  <a:gd name="T43" fmla="*/ 262 h 657"/>
                  <a:gd name="T44" fmla="*/ 657 w 657"/>
                  <a:gd name="T45" fmla="*/ 312 h 657"/>
                  <a:gd name="T46" fmla="*/ 657 w 657"/>
                  <a:gd name="T47" fmla="*/ 346 h 657"/>
                  <a:gd name="T48" fmla="*/ 650 w 657"/>
                  <a:gd name="T49" fmla="*/ 395 h 657"/>
                  <a:gd name="T50" fmla="*/ 632 w 657"/>
                  <a:gd name="T51" fmla="*/ 457 h 657"/>
                  <a:gd name="T52" fmla="*/ 582 w 657"/>
                  <a:gd name="T53" fmla="*/ 538 h 657"/>
                  <a:gd name="T54" fmla="*/ 512 w 657"/>
                  <a:gd name="T55" fmla="*/ 601 h 657"/>
                  <a:gd name="T56" fmla="*/ 426 w 657"/>
                  <a:gd name="T57" fmla="*/ 642 h 657"/>
                  <a:gd name="T58" fmla="*/ 379 w 657"/>
                  <a:gd name="T59" fmla="*/ 653 h 657"/>
                  <a:gd name="T60" fmla="*/ 328 w 657"/>
                  <a:gd name="T61" fmla="*/ 657 h 657"/>
                  <a:gd name="T62" fmla="*/ 328 w 657"/>
                  <a:gd name="T63" fmla="*/ 38 h 657"/>
                  <a:gd name="T64" fmla="*/ 242 w 657"/>
                  <a:gd name="T65" fmla="*/ 51 h 657"/>
                  <a:gd name="T66" fmla="*/ 166 w 657"/>
                  <a:gd name="T67" fmla="*/ 88 h 657"/>
                  <a:gd name="T68" fmla="*/ 104 w 657"/>
                  <a:gd name="T69" fmla="*/ 144 h 657"/>
                  <a:gd name="T70" fmla="*/ 61 w 657"/>
                  <a:gd name="T71" fmla="*/ 215 h 657"/>
                  <a:gd name="T72" fmla="*/ 39 w 657"/>
                  <a:gd name="T73" fmla="*/ 298 h 657"/>
                  <a:gd name="T74" fmla="*/ 39 w 657"/>
                  <a:gd name="T75" fmla="*/ 359 h 657"/>
                  <a:gd name="T76" fmla="*/ 61 w 657"/>
                  <a:gd name="T77" fmla="*/ 442 h 657"/>
                  <a:gd name="T78" fmla="*/ 104 w 657"/>
                  <a:gd name="T79" fmla="*/ 513 h 657"/>
                  <a:gd name="T80" fmla="*/ 166 w 657"/>
                  <a:gd name="T81" fmla="*/ 570 h 657"/>
                  <a:gd name="T82" fmla="*/ 242 w 657"/>
                  <a:gd name="T83" fmla="*/ 607 h 657"/>
                  <a:gd name="T84" fmla="*/ 328 w 657"/>
                  <a:gd name="T85" fmla="*/ 620 h 657"/>
                  <a:gd name="T86" fmla="*/ 387 w 657"/>
                  <a:gd name="T87" fmla="*/ 614 h 657"/>
                  <a:gd name="T88" fmla="*/ 468 w 657"/>
                  <a:gd name="T89" fmla="*/ 585 h 657"/>
                  <a:gd name="T90" fmla="*/ 535 w 657"/>
                  <a:gd name="T91" fmla="*/ 535 h 657"/>
                  <a:gd name="T92" fmla="*/ 585 w 657"/>
                  <a:gd name="T93" fmla="*/ 468 h 657"/>
                  <a:gd name="T94" fmla="*/ 614 w 657"/>
                  <a:gd name="T95" fmla="*/ 387 h 657"/>
                  <a:gd name="T96" fmla="*/ 620 w 657"/>
                  <a:gd name="T97" fmla="*/ 329 h 657"/>
                  <a:gd name="T98" fmla="*/ 606 w 657"/>
                  <a:gd name="T99" fmla="*/ 242 h 657"/>
                  <a:gd name="T100" fmla="*/ 570 w 657"/>
                  <a:gd name="T101" fmla="*/ 166 h 657"/>
                  <a:gd name="T102" fmla="*/ 513 w 657"/>
                  <a:gd name="T103" fmla="*/ 104 h 657"/>
                  <a:gd name="T104" fmla="*/ 442 w 657"/>
                  <a:gd name="T105" fmla="*/ 61 h 657"/>
                  <a:gd name="T106" fmla="*/ 358 w 657"/>
                  <a:gd name="T107" fmla="*/ 39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57" h="657">
                    <a:moveTo>
                      <a:pt x="328" y="657"/>
                    </a:moveTo>
                    <a:lnTo>
                      <a:pt x="328" y="657"/>
                    </a:lnTo>
                    <a:lnTo>
                      <a:pt x="312" y="657"/>
                    </a:lnTo>
                    <a:lnTo>
                      <a:pt x="294" y="656"/>
                    </a:lnTo>
                    <a:lnTo>
                      <a:pt x="278" y="653"/>
                    </a:lnTo>
                    <a:lnTo>
                      <a:pt x="262" y="650"/>
                    </a:lnTo>
                    <a:lnTo>
                      <a:pt x="246" y="648"/>
                    </a:lnTo>
                    <a:lnTo>
                      <a:pt x="231" y="642"/>
                    </a:lnTo>
                    <a:lnTo>
                      <a:pt x="200" y="632"/>
                    </a:lnTo>
                    <a:lnTo>
                      <a:pt x="172" y="618"/>
                    </a:lnTo>
                    <a:lnTo>
                      <a:pt x="145" y="601"/>
                    </a:lnTo>
                    <a:lnTo>
                      <a:pt x="120" y="582"/>
                    </a:lnTo>
                    <a:lnTo>
                      <a:pt x="96" y="562"/>
                    </a:lnTo>
                    <a:lnTo>
                      <a:pt x="76" y="538"/>
                    </a:lnTo>
                    <a:lnTo>
                      <a:pt x="55" y="512"/>
                    </a:lnTo>
                    <a:lnTo>
                      <a:pt x="39" y="485"/>
                    </a:lnTo>
                    <a:lnTo>
                      <a:pt x="26" y="457"/>
                    </a:lnTo>
                    <a:lnTo>
                      <a:pt x="15" y="426"/>
                    </a:lnTo>
                    <a:lnTo>
                      <a:pt x="10" y="411"/>
                    </a:lnTo>
                    <a:lnTo>
                      <a:pt x="7" y="395"/>
                    </a:lnTo>
                    <a:lnTo>
                      <a:pt x="3" y="379"/>
                    </a:lnTo>
                    <a:lnTo>
                      <a:pt x="2" y="362"/>
                    </a:lnTo>
                    <a:lnTo>
                      <a:pt x="0" y="346"/>
                    </a:lnTo>
                    <a:lnTo>
                      <a:pt x="0" y="329"/>
                    </a:lnTo>
                    <a:lnTo>
                      <a:pt x="0" y="329"/>
                    </a:lnTo>
                    <a:lnTo>
                      <a:pt x="0" y="312"/>
                    </a:lnTo>
                    <a:lnTo>
                      <a:pt x="2" y="296"/>
                    </a:lnTo>
                    <a:lnTo>
                      <a:pt x="3" y="278"/>
                    </a:lnTo>
                    <a:lnTo>
                      <a:pt x="7" y="262"/>
                    </a:lnTo>
                    <a:lnTo>
                      <a:pt x="10" y="246"/>
                    </a:lnTo>
                    <a:lnTo>
                      <a:pt x="15" y="231"/>
                    </a:lnTo>
                    <a:lnTo>
                      <a:pt x="26" y="200"/>
                    </a:lnTo>
                    <a:lnTo>
                      <a:pt x="39" y="172"/>
                    </a:lnTo>
                    <a:lnTo>
                      <a:pt x="55" y="145"/>
                    </a:lnTo>
                    <a:lnTo>
                      <a:pt x="76" y="120"/>
                    </a:lnTo>
                    <a:lnTo>
                      <a:pt x="96" y="97"/>
                    </a:lnTo>
                    <a:lnTo>
                      <a:pt x="120" y="76"/>
                    </a:lnTo>
                    <a:lnTo>
                      <a:pt x="145" y="57"/>
                    </a:lnTo>
                    <a:lnTo>
                      <a:pt x="172" y="39"/>
                    </a:lnTo>
                    <a:lnTo>
                      <a:pt x="200" y="26"/>
                    </a:lnTo>
                    <a:lnTo>
                      <a:pt x="231" y="15"/>
                    </a:lnTo>
                    <a:lnTo>
                      <a:pt x="246" y="10"/>
                    </a:lnTo>
                    <a:lnTo>
                      <a:pt x="262" y="7"/>
                    </a:lnTo>
                    <a:lnTo>
                      <a:pt x="278" y="4"/>
                    </a:lnTo>
                    <a:lnTo>
                      <a:pt x="294" y="2"/>
                    </a:lnTo>
                    <a:lnTo>
                      <a:pt x="312" y="0"/>
                    </a:lnTo>
                    <a:lnTo>
                      <a:pt x="328" y="0"/>
                    </a:lnTo>
                    <a:lnTo>
                      <a:pt x="328" y="0"/>
                    </a:lnTo>
                    <a:lnTo>
                      <a:pt x="346" y="0"/>
                    </a:lnTo>
                    <a:lnTo>
                      <a:pt x="362" y="2"/>
                    </a:lnTo>
                    <a:lnTo>
                      <a:pt x="379" y="4"/>
                    </a:lnTo>
                    <a:lnTo>
                      <a:pt x="395" y="7"/>
                    </a:lnTo>
                    <a:lnTo>
                      <a:pt x="410" y="10"/>
                    </a:lnTo>
                    <a:lnTo>
                      <a:pt x="426" y="15"/>
                    </a:lnTo>
                    <a:lnTo>
                      <a:pt x="457" y="26"/>
                    </a:lnTo>
                    <a:lnTo>
                      <a:pt x="485" y="39"/>
                    </a:lnTo>
                    <a:lnTo>
                      <a:pt x="512" y="57"/>
                    </a:lnTo>
                    <a:lnTo>
                      <a:pt x="538" y="76"/>
                    </a:lnTo>
                    <a:lnTo>
                      <a:pt x="560" y="97"/>
                    </a:lnTo>
                    <a:lnTo>
                      <a:pt x="582" y="120"/>
                    </a:lnTo>
                    <a:lnTo>
                      <a:pt x="601" y="145"/>
                    </a:lnTo>
                    <a:lnTo>
                      <a:pt x="618" y="172"/>
                    </a:lnTo>
                    <a:lnTo>
                      <a:pt x="632" y="200"/>
                    </a:lnTo>
                    <a:lnTo>
                      <a:pt x="642" y="231"/>
                    </a:lnTo>
                    <a:lnTo>
                      <a:pt x="646" y="246"/>
                    </a:lnTo>
                    <a:lnTo>
                      <a:pt x="650" y="262"/>
                    </a:lnTo>
                    <a:lnTo>
                      <a:pt x="653" y="278"/>
                    </a:lnTo>
                    <a:lnTo>
                      <a:pt x="656" y="296"/>
                    </a:lnTo>
                    <a:lnTo>
                      <a:pt x="657" y="312"/>
                    </a:lnTo>
                    <a:lnTo>
                      <a:pt x="657" y="329"/>
                    </a:lnTo>
                    <a:lnTo>
                      <a:pt x="657" y="329"/>
                    </a:lnTo>
                    <a:lnTo>
                      <a:pt x="657" y="346"/>
                    </a:lnTo>
                    <a:lnTo>
                      <a:pt x="656" y="362"/>
                    </a:lnTo>
                    <a:lnTo>
                      <a:pt x="653" y="379"/>
                    </a:lnTo>
                    <a:lnTo>
                      <a:pt x="650" y="395"/>
                    </a:lnTo>
                    <a:lnTo>
                      <a:pt x="646" y="411"/>
                    </a:lnTo>
                    <a:lnTo>
                      <a:pt x="642" y="426"/>
                    </a:lnTo>
                    <a:lnTo>
                      <a:pt x="632" y="457"/>
                    </a:lnTo>
                    <a:lnTo>
                      <a:pt x="618" y="485"/>
                    </a:lnTo>
                    <a:lnTo>
                      <a:pt x="601" y="512"/>
                    </a:lnTo>
                    <a:lnTo>
                      <a:pt x="582" y="538"/>
                    </a:lnTo>
                    <a:lnTo>
                      <a:pt x="560" y="562"/>
                    </a:lnTo>
                    <a:lnTo>
                      <a:pt x="538" y="582"/>
                    </a:lnTo>
                    <a:lnTo>
                      <a:pt x="512" y="601"/>
                    </a:lnTo>
                    <a:lnTo>
                      <a:pt x="485" y="618"/>
                    </a:lnTo>
                    <a:lnTo>
                      <a:pt x="457" y="632"/>
                    </a:lnTo>
                    <a:lnTo>
                      <a:pt x="426" y="642"/>
                    </a:lnTo>
                    <a:lnTo>
                      <a:pt x="410" y="648"/>
                    </a:lnTo>
                    <a:lnTo>
                      <a:pt x="395" y="650"/>
                    </a:lnTo>
                    <a:lnTo>
                      <a:pt x="379" y="653"/>
                    </a:lnTo>
                    <a:lnTo>
                      <a:pt x="362" y="656"/>
                    </a:lnTo>
                    <a:lnTo>
                      <a:pt x="346" y="657"/>
                    </a:lnTo>
                    <a:lnTo>
                      <a:pt x="328" y="657"/>
                    </a:lnTo>
                    <a:lnTo>
                      <a:pt x="328" y="657"/>
                    </a:lnTo>
                    <a:close/>
                    <a:moveTo>
                      <a:pt x="328" y="38"/>
                    </a:moveTo>
                    <a:lnTo>
                      <a:pt x="328" y="38"/>
                    </a:lnTo>
                    <a:lnTo>
                      <a:pt x="299" y="39"/>
                    </a:lnTo>
                    <a:lnTo>
                      <a:pt x="270" y="43"/>
                    </a:lnTo>
                    <a:lnTo>
                      <a:pt x="242" y="51"/>
                    </a:lnTo>
                    <a:lnTo>
                      <a:pt x="215" y="61"/>
                    </a:lnTo>
                    <a:lnTo>
                      <a:pt x="190" y="73"/>
                    </a:lnTo>
                    <a:lnTo>
                      <a:pt x="166" y="88"/>
                    </a:lnTo>
                    <a:lnTo>
                      <a:pt x="144" y="104"/>
                    </a:lnTo>
                    <a:lnTo>
                      <a:pt x="123" y="123"/>
                    </a:lnTo>
                    <a:lnTo>
                      <a:pt x="104" y="144"/>
                    </a:lnTo>
                    <a:lnTo>
                      <a:pt x="88" y="166"/>
                    </a:lnTo>
                    <a:lnTo>
                      <a:pt x="73" y="190"/>
                    </a:lnTo>
                    <a:lnTo>
                      <a:pt x="61" y="215"/>
                    </a:lnTo>
                    <a:lnTo>
                      <a:pt x="50" y="242"/>
                    </a:lnTo>
                    <a:lnTo>
                      <a:pt x="43" y="270"/>
                    </a:lnTo>
                    <a:lnTo>
                      <a:pt x="39" y="298"/>
                    </a:lnTo>
                    <a:lnTo>
                      <a:pt x="38" y="329"/>
                    </a:lnTo>
                    <a:lnTo>
                      <a:pt x="38" y="329"/>
                    </a:lnTo>
                    <a:lnTo>
                      <a:pt x="39" y="359"/>
                    </a:lnTo>
                    <a:lnTo>
                      <a:pt x="43" y="387"/>
                    </a:lnTo>
                    <a:lnTo>
                      <a:pt x="50" y="415"/>
                    </a:lnTo>
                    <a:lnTo>
                      <a:pt x="61" y="442"/>
                    </a:lnTo>
                    <a:lnTo>
                      <a:pt x="73" y="468"/>
                    </a:lnTo>
                    <a:lnTo>
                      <a:pt x="88" y="492"/>
                    </a:lnTo>
                    <a:lnTo>
                      <a:pt x="104" y="513"/>
                    </a:lnTo>
                    <a:lnTo>
                      <a:pt x="123" y="535"/>
                    </a:lnTo>
                    <a:lnTo>
                      <a:pt x="144" y="554"/>
                    </a:lnTo>
                    <a:lnTo>
                      <a:pt x="166" y="570"/>
                    </a:lnTo>
                    <a:lnTo>
                      <a:pt x="190" y="585"/>
                    </a:lnTo>
                    <a:lnTo>
                      <a:pt x="215" y="597"/>
                    </a:lnTo>
                    <a:lnTo>
                      <a:pt x="242" y="607"/>
                    </a:lnTo>
                    <a:lnTo>
                      <a:pt x="270" y="614"/>
                    </a:lnTo>
                    <a:lnTo>
                      <a:pt x="299" y="618"/>
                    </a:lnTo>
                    <a:lnTo>
                      <a:pt x="328" y="620"/>
                    </a:lnTo>
                    <a:lnTo>
                      <a:pt x="328" y="620"/>
                    </a:lnTo>
                    <a:lnTo>
                      <a:pt x="358" y="618"/>
                    </a:lnTo>
                    <a:lnTo>
                      <a:pt x="387" y="614"/>
                    </a:lnTo>
                    <a:lnTo>
                      <a:pt x="415" y="607"/>
                    </a:lnTo>
                    <a:lnTo>
                      <a:pt x="442" y="597"/>
                    </a:lnTo>
                    <a:lnTo>
                      <a:pt x="468" y="585"/>
                    </a:lnTo>
                    <a:lnTo>
                      <a:pt x="491" y="570"/>
                    </a:lnTo>
                    <a:lnTo>
                      <a:pt x="513" y="554"/>
                    </a:lnTo>
                    <a:lnTo>
                      <a:pt x="535" y="535"/>
                    </a:lnTo>
                    <a:lnTo>
                      <a:pt x="554" y="513"/>
                    </a:lnTo>
                    <a:lnTo>
                      <a:pt x="570" y="492"/>
                    </a:lnTo>
                    <a:lnTo>
                      <a:pt x="585" y="468"/>
                    </a:lnTo>
                    <a:lnTo>
                      <a:pt x="597" y="442"/>
                    </a:lnTo>
                    <a:lnTo>
                      <a:pt x="606" y="415"/>
                    </a:lnTo>
                    <a:lnTo>
                      <a:pt x="614" y="387"/>
                    </a:lnTo>
                    <a:lnTo>
                      <a:pt x="618" y="359"/>
                    </a:lnTo>
                    <a:lnTo>
                      <a:pt x="620" y="329"/>
                    </a:lnTo>
                    <a:lnTo>
                      <a:pt x="620" y="329"/>
                    </a:lnTo>
                    <a:lnTo>
                      <a:pt x="618" y="298"/>
                    </a:lnTo>
                    <a:lnTo>
                      <a:pt x="614" y="270"/>
                    </a:lnTo>
                    <a:lnTo>
                      <a:pt x="606" y="242"/>
                    </a:lnTo>
                    <a:lnTo>
                      <a:pt x="597" y="215"/>
                    </a:lnTo>
                    <a:lnTo>
                      <a:pt x="585" y="190"/>
                    </a:lnTo>
                    <a:lnTo>
                      <a:pt x="570" y="166"/>
                    </a:lnTo>
                    <a:lnTo>
                      <a:pt x="554" y="144"/>
                    </a:lnTo>
                    <a:lnTo>
                      <a:pt x="535" y="123"/>
                    </a:lnTo>
                    <a:lnTo>
                      <a:pt x="513" y="104"/>
                    </a:lnTo>
                    <a:lnTo>
                      <a:pt x="491" y="88"/>
                    </a:lnTo>
                    <a:lnTo>
                      <a:pt x="468" y="73"/>
                    </a:lnTo>
                    <a:lnTo>
                      <a:pt x="442" y="61"/>
                    </a:lnTo>
                    <a:lnTo>
                      <a:pt x="415" y="51"/>
                    </a:lnTo>
                    <a:lnTo>
                      <a:pt x="387" y="43"/>
                    </a:lnTo>
                    <a:lnTo>
                      <a:pt x="358" y="39"/>
                    </a:lnTo>
                    <a:lnTo>
                      <a:pt x="328" y="38"/>
                    </a:lnTo>
                    <a:lnTo>
                      <a:pt x="328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0" name="Freeform 161">
                <a:extLst>
                  <a:ext uri="{FF2B5EF4-FFF2-40B4-BE49-F238E27FC236}">
                    <a16:creationId xmlns:a16="http://schemas.microsoft.com/office/drawing/2014/main" id="{C362234F-97C4-45E5-9390-57C20B3DE7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7926" y="4430713"/>
                <a:ext cx="33338" cy="14288"/>
              </a:xfrm>
              <a:custGeom>
                <a:avLst/>
                <a:gdLst>
                  <a:gd name="T0" fmla="*/ 32 w 42"/>
                  <a:gd name="T1" fmla="*/ 0 h 19"/>
                  <a:gd name="T2" fmla="*/ 9 w 42"/>
                  <a:gd name="T3" fmla="*/ 0 h 19"/>
                  <a:gd name="T4" fmla="*/ 9 w 42"/>
                  <a:gd name="T5" fmla="*/ 0 h 19"/>
                  <a:gd name="T6" fmla="*/ 7 w 42"/>
                  <a:gd name="T7" fmla="*/ 0 h 19"/>
                  <a:gd name="T8" fmla="*/ 3 w 42"/>
                  <a:gd name="T9" fmla="*/ 3 h 19"/>
                  <a:gd name="T10" fmla="*/ 1 w 42"/>
                  <a:gd name="T11" fmla="*/ 6 h 19"/>
                  <a:gd name="T12" fmla="*/ 0 w 42"/>
                  <a:gd name="T13" fmla="*/ 10 h 19"/>
                  <a:gd name="T14" fmla="*/ 0 w 42"/>
                  <a:gd name="T15" fmla="*/ 10 h 19"/>
                  <a:gd name="T16" fmla="*/ 1 w 42"/>
                  <a:gd name="T17" fmla="*/ 12 h 19"/>
                  <a:gd name="T18" fmla="*/ 3 w 42"/>
                  <a:gd name="T19" fmla="*/ 16 h 19"/>
                  <a:gd name="T20" fmla="*/ 7 w 42"/>
                  <a:gd name="T21" fmla="*/ 18 h 19"/>
                  <a:gd name="T22" fmla="*/ 9 w 42"/>
                  <a:gd name="T23" fmla="*/ 19 h 19"/>
                  <a:gd name="T24" fmla="*/ 32 w 42"/>
                  <a:gd name="T25" fmla="*/ 19 h 19"/>
                  <a:gd name="T26" fmla="*/ 32 w 42"/>
                  <a:gd name="T27" fmla="*/ 19 h 19"/>
                  <a:gd name="T28" fmla="*/ 35 w 42"/>
                  <a:gd name="T29" fmla="*/ 18 h 19"/>
                  <a:gd name="T30" fmla="*/ 39 w 42"/>
                  <a:gd name="T31" fmla="*/ 16 h 19"/>
                  <a:gd name="T32" fmla="*/ 40 w 42"/>
                  <a:gd name="T33" fmla="*/ 12 h 19"/>
                  <a:gd name="T34" fmla="*/ 42 w 42"/>
                  <a:gd name="T35" fmla="*/ 10 h 19"/>
                  <a:gd name="T36" fmla="*/ 42 w 42"/>
                  <a:gd name="T37" fmla="*/ 10 h 19"/>
                  <a:gd name="T38" fmla="*/ 40 w 42"/>
                  <a:gd name="T39" fmla="*/ 6 h 19"/>
                  <a:gd name="T40" fmla="*/ 39 w 42"/>
                  <a:gd name="T41" fmla="*/ 3 h 19"/>
                  <a:gd name="T42" fmla="*/ 35 w 42"/>
                  <a:gd name="T43" fmla="*/ 0 h 19"/>
                  <a:gd name="T44" fmla="*/ 32 w 42"/>
                  <a:gd name="T45" fmla="*/ 0 h 19"/>
                  <a:gd name="T46" fmla="*/ 32 w 42"/>
                  <a:gd name="T4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2" h="19">
                    <a:moveTo>
                      <a:pt x="32" y="0"/>
                    </a:moveTo>
                    <a:lnTo>
                      <a:pt x="9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1" y="12"/>
                    </a:lnTo>
                    <a:lnTo>
                      <a:pt x="3" y="16"/>
                    </a:lnTo>
                    <a:lnTo>
                      <a:pt x="7" y="18"/>
                    </a:lnTo>
                    <a:lnTo>
                      <a:pt x="9" y="19"/>
                    </a:lnTo>
                    <a:lnTo>
                      <a:pt x="32" y="19"/>
                    </a:lnTo>
                    <a:lnTo>
                      <a:pt x="32" y="19"/>
                    </a:lnTo>
                    <a:lnTo>
                      <a:pt x="35" y="18"/>
                    </a:lnTo>
                    <a:lnTo>
                      <a:pt x="39" y="16"/>
                    </a:lnTo>
                    <a:lnTo>
                      <a:pt x="40" y="12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0" y="6"/>
                    </a:lnTo>
                    <a:lnTo>
                      <a:pt x="39" y="3"/>
                    </a:lnTo>
                    <a:lnTo>
                      <a:pt x="35" y="0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1" name="Freeform 162">
                <a:extLst>
                  <a:ext uri="{FF2B5EF4-FFF2-40B4-BE49-F238E27FC236}">
                    <a16:creationId xmlns:a16="http://schemas.microsoft.com/office/drawing/2014/main" id="{60F2690F-208A-43CB-AC07-B7C4E41C03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4438" y="4344988"/>
                <a:ext cx="26988" cy="26988"/>
              </a:xfrm>
              <a:custGeom>
                <a:avLst/>
                <a:gdLst>
                  <a:gd name="T0" fmla="*/ 32 w 35"/>
                  <a:gd name="T1" fmla="*/ 31 h 33"/>
                  <a:gd name="T2" fmla="*/ 32 w 35"/>
                  <a:gd name="T3" fmla="*/ 31 h 33"/>
                  <a:gd name="T4" fmla="*/ 34 w 35"/>
                  <a:gd name="T5" fmla="*/ 28 h 33"/>
                  <a:gd name="T6" fmla="*/ 35 w 35"/>
                  <a:gd name="T7" fmla="*/ 24 h 33"/>
                  <a:gd name="T8" fmla="*/ 35 w 35"/>
                  <a:gd name="T9" fmla="*/ 24 h 33"/>
                  <a:gd name="T10" fmla="*/ 34 w 35"/>
                  <a:gd name="T11" fmla="*/ 20 h 33"/>
                  <a:gd name="T12" fmla="*/ 32 w 35"/>
                  <a:gd name="T13" fmla="*/ 17 h 33"/>
                  <a:gd name="T14" fmla="*/ 16 w 35"/>
                  <a:gd name="T15" fmla="*/ 3 h 33"/>
                  <a:gd name="T16" fmla="*/ 16 w 35"/>
                  <a:gd name="T17" fmla="*/ 3 h 33"/>
                  <a:gd name="T18" fmla="*/ 14 w 35"/>
                  <a:gd name="T19" fmla="*/ 0 h 33"/>
                  <a:gd name="T20" fmla="*/ 11 w 35"/>
                  <a:gd name="T21" fmla="*/ 0 h 33"/>
                  <a:gd name="T22" fmla="*/ 7 w 35"/>
                  <a:gd name="T23" fmla="*/ 0 h 33"/>
                  <a:gd name="T24" fmla="*/ 4 w 35"/>
                  <a:gd name="T25" fmla="*/ 3 h 33"/>
                  <a:gd name="T26" fmla="*/ 4 w 35"/>
                  <a:gd name="T27" fmla="*/ 3 h 33"/>
                  <a:gd name="T28" fmla="*/ 2 w 35"/>
                  <a:gd name="T29" fmla="*/ 5 h 33"/>
                  <a:gd name="T30" fmla="*/ 0 w 35"/>
                  <a:gd name="T31" fmla="*/ 9 h 33"/>
                  <a:gd name="T32" fmla="*/ 2 w 35"/>
                  <a:gd name="T33" fmla="*/ 12 h 33"/>
                  <a:gd name="T34" fmla="*/ 4 w 35"/>
                  <a:gd name="T35" fmla="*/ 16 h 33"/>
                  <a:gd name="T36" fmla="*/ 19 w 35"/>
                  <a:gd name="T37" fmla="*/ 31 h 33"/>
                  <a:gd name="T38" fmla="*/ 19 w 35"/>
                  <a:gd name="T39" fmla="*/ 31 h 33"/>
                  <a:gd name="T40" fmla="*/ 19 w 35"/>
                  <a:gd name="T41" fmla="*/ 31 h 33"/>
                  <a:gd name="T42" fmla="*/ 22 w 35"/>
                  <a:gd name="T43" fmla="*/ 33 h 33"/>
                  <a:gd name="T44" fmla="*/ 26 w 35"/>
                  <a:gd name="T45" fmla="*/ 33 h 33"/>
                  <a:gd name="T46" fmla="*/ 26 w 35"/>
                  <a:gd name="T47" fmla="*/ 33 h 33"/>
                  <a:gd name="T48" fmla="*/ 30 w 35"/>
                  <a:gd name="T49" fmla="*/ 33 h 33"/>
                  <a:gd name="T50" fmla="*/ 32 w 35"/>
                  <a:gd name="T51" fmla="*/ 31 h 33"/>
                  <a:gd name="T52" fmla="*/ 32 w 35"/>
                  <a:gd name="T53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5" h="33">
                    <a:moveTo>
                      <a:pt x="32" y="31"/>
                    </a:moveTo>
                    <a:lnTo>
                      <a:pt x="32" y="31"/>
                    </a:lnTo>
                    <a:lnTo>
                      <a:pt x="34" y="28"/>
                    </a:lnTo>
                    <a:lnTo>
                      <a:pt x="35" y="24"/>
                    </a:lnTo>
                    <a:lnTo>
                      <a:pt x="35" y="24"/>
                    </a:lnTo>
                    <a:lnTo>
                      <a:pt x="34" y="20"/>
                    </a:lnTo>
                    <a:lnTo>
                      <a:pt x="32" y="17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22" y="33"/>
                    </a:lnTo>
                    <a:lnTo>
                      <a:pt x="26" y="33"/>
                    </a:lnTo>
                    <a:lnTo>
                      <a:pt x="26" y="33"/>
                    </a:lnTo>
                    <a:lnTo>
                      <a:pt x="30" y="33"/>
                    </a:lnTo>
                    <a:lnTo>
                      <a:pt x="32" y="31"/>
                    </a:lnTo>
                    <a:lnTo>
                      <a:pt x="32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2" name="Freeform 163">
                <a:extLst>
                  <a:ext uri="{FF2B5EF4-FFF2-40B4-BE49-F238E27FC236}">
                    <a16:creationId xmlns:a16="http://schemas.microsoft.com/office/drawing/2014/main" id="{67083492-908E-41BD-B819-1814530D69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8576" y="4310063"/>
                <a:ext cx="15875" cy="31750"/>
              </a:xfrm>
              <a:custGeom>
                <a:avLst/>
                <a:gdLst>
                  <a:gd name="T0" fmla="*/ 9 w 18"/>
                  <a:gd name="T1" fmla="*/ 40 h 40"/>
                  <a:gd name="T2" fmla="*/ 9 w 18"/>
                  <a:gd name="T3" fmla="*/ 40 h 40"/>
                  <a:gd name="T4" fmla="*/ 13 w 18"/>
                  <a:gd name="T5" fmla="*/ 38 h 40"/>
                  <a:gd name="T6" fmla="*/ 16 w 18"/>
                  <a:gd name="T7" fmla="*/ 37 h 40"/>
                  <a:gd name="T8" fmla="*/ 18 w 18"/>
                  <a:gd name="T9" fmla="*/ 34 h 40"/>
                  <a:gd name="T10" fmla="*/ 18 w 18"/>
                  <a:gd name="T11" fmla="*/ 30 h 40"/>
                  <a:gd name="T12" fmla="*/ 18 w 18"/>
                  <a:gd name="T13" fmla="*/ 9 h 40"/>
                  <a:gd name="T14" fmla="*/ 18 w 18"/>
                  <a:gd name="T15" fmla="*/ 9 h 40"/>
                  <a:gd name="T16" fmla="*/ 18 w 18"/>
                  <a:gd name="T17" fmla="*/ 5 h 40"/>
                  <a:gd name="T18" fmla="*/ 16 w 18"/>
                  <a:gd name="T19" fmla="*/ 2 h 40"/>
                  <a:gd name="T20" fmla="*/ 13 w 18"/>
                  <a:gd name="T21" fmla="*/ 0 h 40"/>
                  <a:gd name="T22" fmla="*/ 9 w 18"/>
                  <a:gd name="T23" fmla="*/ 0 h 40"/>
                  <a:gd name="T24" fmla="*/ 9 w 18"/>
                  <a:gd name="T25" fmla="*/ 0 h 40"/>
                  <a:gd name="T26" fmla="*/ 6 w 18"/>
                  <a:gd name="T27" fmla="*/ 0 h 40"/>
                  <a:gd name="T28" fmla="*/ 2 w 18"/>
                  <a:gd name="T29" fmla="*/ 2 h 40"/>
                  <a:gd name="T30" fmla="*/ 1 w 18"/>
                  <a:gd name="T31" fmla="*/ 5 h 40"/>
                  <a:gd name="T32" fmla="*/ 0 w 18"/>
                  <a:gd name="T33" fmla="*/ 9 h 40"/>
                  <a:gd name="T34" fmla="*/ 0 w 18"/>
                  <a:gd name="T35" fmla="*/ 30 h 40"/>
                  <a:gd name="T36" fmla="*/ 0 w 18"/>
                  <a:gd name="T37" fmla="*/ 30 h 40"/>
                  <a:gd name="T38" fmla="*/ 1 w 18"/>
                  <a:gd name="T39" fmla="*/ 34 h 40"/>
                  <a:gd name="T40" fmla="*/ 2 w 18"/>
                  <a:gd name="T41" fmla="*/ 37 h 40"/>
                  <a:gd name="T42" fmla="*/ 6 w 18"/>
                  <a:gd name="T43" fmla="*/ 38 h 40"/>
                  <a:gd name="T44" fmla="*/ 9 w 18"/>
                  <a:gd name="T45" fmla="*/ 40 h 40"/>
                  <a:gd name="T46" fmla="*/ 9 w 18"/>
                  <a:gd name="T4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" h="40">
                    <a:moveTo>
                      <a:pt x="9" y="40"/>
                    </a:moveTo>
                    <a:lnTo>
                      <a:pt x="9" y="40"/>
                    </a:lnTo>
                    <a:lnTo>
                      <a:pt x="13" y="38"/>
                    </a:lnTo>
                    <a:lnTo>
                      <a:pt x="16" y="37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9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6" y="2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1" y="5"/>
                    </a:lnTo>
                    <a:lnTo>
                      <a:pt x="0" y="9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1" y="34"/>
                    </a:lnTo>
                    <a:lnTo>
                      <a:pt x="2" y="37"/>
                    </a:lnTo>
                    <a:lnTo>
                      <a:pt x="6" y="38"/>
                    </a:lnTo>
                    <a:lnTo>
                      <a:pt x="9" y="40"/>
                    </a:lnTo>
                    <a:lnTo>
                      <a:pt x="9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3" name="Freeform 164">
                <a:extLst>
                  <a:ext uri="{FF2B5EF4-FFF2-40B4-BE49-F238E27FC236}">
                    <a16:creationId xmlns:a16="http://schemas.microsoft.com/office/drawing/2014/main" id="{DF073FF9-8C26-411E-AFA6-92BE762E0E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3188" y="4344988"/>
                <a:ext cx="25400" cy="26988"/>
              </a:xfrm>
              <a:custGeom>
                <a:avLst/>
                <a:gdLst>
                  <a:gd name="T0" fmla="*/ 18 w 34"/>
                  <a:gd name="T1" fmla="*/ 3 h 33"/>
                  <a:gd name="T2" fmla="*/ 3 w 34"/>
                  <a:gd name="T3" fmla="*/ 17 h 33"/>
                  <a:gd name="T4" fmla="*/ 3 w 34"/>
                  <a:gd name="T5" fmla="*/ 17 h 33"/>
                  <a:gd name="T6" fmla="*/ 0 w 34"/>
                  <a:gd name="T7" fmla="*/ 20 h 33"/>
                  <a:gd name="T8" fmla="*/ 0 w 34"/>
                  <a:gd name="T9" fmla="*/ 24 h 33"/>
                  <a:gd name="T10" fmla="*/ 0 w 34"/>
                  <a:gd name="T11" fmla="*/ 24 h 33"/>
                  <a:gd name="T12" fmla="*/ 0 w 34"/>
                  <a:gd name="T13" fmla="*/ 28 h 33"/>
                  <a:gd name="T14" fmla="*/ 3 w 34"/>
                  <a:gd name="T15" fmla="*/ 31 h 33"/>
                  <a:gd name="T16" fmla="*/ 3 w 34"/>
                  <a:gd name="T17" fmla="*/ 31 h 33"/>
                  <a:gd name="T18" fmla="*/ 6 w 34"/>
                  <a:gd name="T19" fmla="*/ 33 h 33"/>
                  <a:gd name="T20" fmla="*/ 10 w 34"/>
                  <a:gd name="T21" fmla="*/ 33 h 33"/>
                  <a:gd name="T22" fmla="*/ 10 w 34"/>
                  <a:gd name="T23" fmla="*/ 33 h 33"/>
                  <a:gd name="T24" fmla="*/ 12 w 34"/>
                  <a:gd name="T25" fmla="*/ 33 h 33"/>
                  <a:gd name="T26" fmla="*/ 16 w 34"/>
                  <a:gd name="T27" fmla="*/ 31 h 33"/>
                  <a:gd name="T28" fmla="*/ 31 w 34"/>
                  <a:gd name="T29" fmla="*/ 16 h 33"/>
                  <a:gd name="T30" fmla="*/ 31 w 34"/>
                  <a:gd name="T31" fmla="*/ 16 h 33"/>
                  <a:gd name="T32" fmla="*/ 34 w 34"/>
                  <a:gd name="T33" fmla="*/ 12 h 33"/>
                  <a:gd name="T34" fmla="*/ 34 w 34"/>
                  <a:gd name="T35" fmla="*/ 9 h 33"/>
                  <a:gd name="T36" fmla="*/ 34 w 34"/>
                  <a:gd name="T37" fmla="*/ 5 h 33"/>
                  <a:gd name="T38" fmla="*/ 31 w 34"/>
                  <a:gd name="T39" fmla="*/ 3 h 33"/>
                  <a:gd name="T40" fmla="*/ 31 w 34"/>
                  <a:gd name="T41" fmla="*/ 3 h 33"/>
                  <a:gd name="T42" fmla="*/ 29 w 34"/>
                  <a:gd name="T43" fmla="*/ 0 h 33"/>
                  <a:gd name="T44" fmla="*/ 25 w 34"/>
                  <a:gd name="T45" fmla="*/ 0 h 33"/>
                  <a:gd name="T46" fmla="*/ 22 w 34"/>
                  <a:gd name="T47" fmla="*/ 0 h 33"/>
                  <a:gd name="T48" fmla="*/ 18 w 34"/>
                  <a:gd name="T49" fmla="*/ 3 h 33"/>
                  <a:gd name="T50" fmla="*/ 18 w 34"/>
                  <a:gd name="T51" fmla="*/ 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4" h="33">
                    <a:moveTo>
                      <a:pt x="18" y="3"/>
                    </a:moveTo>
                    <a:lnTo>
                      <a:pt x="3" y="17"/>
                    </a:lnTo>
                    <a:lnTo>
                      <a:pt x="3" y="17"/>
                    </a:lnTo>
                    <a:lnTo>
                      <a:pt x="0" y="20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8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6" y="33"/>
                    </a:lnTo>
                    <a:lnTo>
                      <a:pt x="10" y="33"/>
                    </a:lnTo>
                    <a:lnTo>
                      <a:pt x="10" y="33"/>
                    </a:lnTo>
                    <a:lnTo>
                      <a:pt x="12" y="33"/>
                    </a:lnTo>
                    <a:lnTo>
                      <a:pt x="16" y="31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34" y="12"/>
                    </a:lnTo>
                    <a:lnTo>
                      <a:pt x="34" y="9"/>
                    </a:lnTo>
                    <a:lnTo>
                      <a:pt x="34" y="5"/>
                    </a:lnTo>
                    <a:lnTo>
                      <a:pt x="31" y="3"/>
                    </a:lnTo>
                    <a:lnTo>
                      <a:pt x="31" y="3"/>
                    </a:lnTo>
                    <a:lnTo>
                      <a:pt x="29" y="0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18" y="3"/>
                    </a:lnTo>
                    <a:lnTo>
                      <a:pt x="18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4" name="Freeform 165">
                <a:extLst>
                  <a:ext uri="{FF2B5EF4-FFF2-40B4-BE49-F238E27FC236}">
                    <a16:creationId xmlns:a16="http://schemas.microsoft.com/office/drawing/2014/main" id="{73337580-FE81-4A8F-B0F2-EB7C63518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1763" y="4430713"/>
                <a:ext cx="33338" cy="14288"/>
              </a:xfrm>
              <a:custGeom>
                <a:avLst/>
                <a:gdLst>
                  <a:gd name="T0" fmla="*/ 31 w 40"/>
                  <a:gd name="T1" fmla="*/ 0 h 19"/>
                  <a:gd name="T2" fmla="*/ 9 w 40"/>
                  <a:gd name="T3" fmla="*/ 0 h 19"/>
                  <a:gd name="T4" fmla="*/ 9 w 40"/>
                  <a:gd name="T5" fmla="*/ 0 h 19"/>
                  <a:gd name="T6" fmla="*/ 5 w 40"/>
                  <a:gd name="T7" fmla="*/ 0 h 19"/>
                  <a:gd name="T8" fmla="*/ 3 w 40"/>
                  <a:gd name="T9" fmla="*/ 3 h 19"/>
                  <a:gd name="T10" fmla="*/ 1 w 40"/>
                  <a:gd name="T11" fmla="*/ 6 h 19"/>
                  <a:gd name="T12" fmla="*/ 0 w 40"/>
                  <a:gd name="T13" fmla="*/ 10 h 19"/>
                  <a:gd name="T14" fmla="*/ 0 w 40"/>
                  <a:gd name="T15" fmla="*/ 10 h 19"/>
                  <a:gd name="T16" fmla="*/ 1 w 40"/>
                  <a:gd name="T17" fmla="*/ 12 h 19"/>
                  <a:gd name="T18" fmla="*/ 3 w 40"/>
                  <a:gd name="T19" fmla="*/ 16 h 19"/>
                  <a:gd name="T20" fmla="*/ 5 w 40"/>
                  <a:gd name="T21" fmla="*/ 18 h 19"/>
                  <a:gd name="T22" fmla="*/ 9 w 40"/>
                  <a:gd name="T23" fmla="*/ 19 h 19"/>
                  <a:gd name="T24" fmla="*/ 31 w 40"/>
                  <a:gd name="T25" fmla="*/ 19 h 19"/>
                  <a:gd name="T26" fmla="*/ 31 w 40"/>
                  <a:gd name="T27" fmla="*/ 19 h 19"/>
                  <a:gd name="T28" fmla="*/ 35 w 40"/>
                  <a:gd name="T29" fmla="*/ 18 h 19"/>
                  <a:gd name="T30" fmla="*/ 38 w 40"/>
                  <a:gd name="T31" fmla="*/ 16 h 19"/>
                  <a:gd name="T32" fmla="*/ 40 w 40"/>
                  <a:gd name="T33" fmla="*/ 12 h 19"/>
                  <a:gd name="T34" fmla="*/ 40 w 40"/>
                  <a:gd name="T35" fmla="*/ 10 h 19"/>
                  <a:gd name="T36" fmla="*/ 40 w 40"/>
                  <a:gd name="T37" fmla="*/ 10 h 19"/>
                  <a:gd name="T38" fmla="*/ 40 w 40"/>
                  <a:gd name="T39" fmla="*/ 6 h 19"/>
                  <a:gd name="T40" fmla="*/ 38 w 40"/>
                  <a:gd name="T41" fmla="*/ 3 h 19"/>
                  <a:gd name="T42" fmla="*/ 35 w 40"/>
                  <a:gd name="T43" fmla="*/ 0 h 19"/>
                  <a:gd name="T44" fmla="*/ 31 w 40"/>
                  <a:gd name="T45" fmla="*/ 0 h 19"/>
                  <a:gd name="T46" fmla="*/ 31 w 40"/>
                  <a:gd name="T4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0" h="19">
                    <a:moveTo>
                      <a:pt x="31" y="0"/>
                    </a:moveTo>
                    <a:lnTo>
                      <a:pt x="9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1" y="12"/>
                    </a:lnTo>
                    <a:lnTo>
                      <a:pt x="3" y="16"/>
                    </a:lnTo>
                    <a:lnTo>
                      <a:pt x="5" y="18"/>
                    </a:lnTo>
                    <a:lnTo>
                      <a:pt x="9" y="19"/>
                    </a:lnTo>
                    <a:lnTo>
                      <a:pt x="31" y="19"/>
                    </a:lnTo>
                    <a:lnTo>
                      <a:pt x="31" y="19"/>
                    </a:lnTo>
                    <a:lnTo>
                      <a:pt x="35" y="18"/>
                    </a:lnTo>
                    <a:lnTo>
                      <a:pt x="38" y="16"/>
                    </a:lnTo>
                    <a:lnTo>
                      <a:pt x="40" y="12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40" y="6"/>
                    </a:lnTo>
                    <a:lnTo>
                      <a:pt x="38" y="3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5" name="Freeform 166">
                <a:extLst>
                  <a:ext uri="{FF2B5EF4-FFF2-40B4-BE49-F238E27FC236}">
                    <a16:creationId xmlns:a16="http://schemas.microsoft.com/office/drawing/2014/main" id="{72040E60-ACB5-418F-8F8A-50675972BF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3488" y="4364038"/>
                <a:ext cx="146050" cy="153988"/>
              </a:xfrm>
              <a:custGeom>
                <a:avLst/>
                <a:gdLst>
                  <a:gd name="T0" fmla="*/ 91 w 184"/>
                  <a:gd name="T1" fmla="*/ 0 h 195"/>
                  <a:gd name="T2" fmla="*/ 74 w 184"/>
                  <a:gd name="T3" fmla="*/ 1 h 195"/>
                  <a:gd name="T4" fmla="*/ 56 w 184"/>
                  <a:gd name="T5" fmla="*/ 7 h 195"/>
                  <a:gd name="T6" fmla="*/ 40 w 184"/>
                  <a:gd name="T7" fmla="*/ 16 h 195"/>
                  <a:gd name="T8" fmla="*/ 27 w 184"/>
                  <a:gd name="T9" fmla="*/ 27 h 195"/>
                  <a:gd name="T10" fmla="*/ 16 w 184"/>
                  <a:gd name="T11" fmla="*/ 40 h 195"/>
                  <a:gd name="T12" fmla="*/ 6 w 184"/>
                  <a:gd name="T13" fmla="*/ 56 h 195"/>
                  <a:gd name="T14" fmla="*/ 1 w 184"/>
                  <a:gd name="T15" fmla="*/ 74 h 195"/>
                  <a:gd name="T16" fmla="*/ 0 w 184"/>
                  <a:gd name="T17" fmla="*/ 93 h 195"/>
                  <a:gd name="T18" fmla="*/ 1 w 184"/>
                  <a:gd name="T19" fmla="*/ 106 h 195"/>
                  <a:gd name="T20" fmla="*/ 8 w 184"/>
                  <a:gd name="T21" fmla="*/ 130 h 195"/>
                  <a:gd name="T22" fmla="*/ 23 w 184"/>
                  <a:gd name="T23" fmla="*/ 152 h 195"/>
                  <a:gd name="T24" fmla="*/ 41 w 184"/>
                  <a:gd name="T25" fmla="*/ 169 h 195"/>
                  <a:gd name="T26" fmla="*/ 53 w 184"/>
                  <a:gd name="T27" fmla="*/ 189 h 195"/>
                  <a:gd name="T28" fmla="*/ 53 w 184"/>
                  <a:gd name="T29" fmla="*/ 192 h 195"/>
                  <a:gd name="T30" fmla="*/ 57 w 184"/>
                  <a:gd name="T31" fmla="*/ 195 h 195"/>
                  <a:gd name="T32" fmla="*/ 125 w 184"/>
                  <a:gd name="T33" fmla="*/ 195 h 195"/>
                  <a:gd name="T34" fmla="*/ 126 w 184"/>
                  <a:gd name="T35" fmla="*/ 195 h 195"/>
                  <a:gd name="T36" fmla="*/ 129 w 184"/>
                  <a:gd name="T37" fmla="*/ 192 h 195"/>
                  <a:gd name="T38" fmla="*/ 130 w 184"/>
                  <a:gd name="T39" fmla="*/ 176 h 195"/>
                  <a:gd name="T40" fmla="*/ 141 w 184"/>
                  <a:gd name="T41" fmla="*/ 169 h 195"/>
                  <a:gd name="T42" fmla="*/ 161 w 184"/>
                  <a:gd name="T43" fmla="*/ 152 h 195"/>
                  <a:gd name="T44" fmla="*/ 176 w 184"/>
                  <a:gd name="T45" fmla="*/ 130 h 195"/>
                  <a:gd name="T46" fmla="*/ 182 w 184"/>
                  <a:gd name="T47" fmla="*/ 106 h 195"/>
                  <a:gd name="T48" fmla="*/ 184 w 184"/>
                  <a:gd name="T49" fmla="*/ 93 h 195"/>
                  <a:gd name="T50" fmla="*/ 181 w 184"/>
                  <a:gd name="T51" fmla="*/ 74 h 195"/>
                  <a:gd name="T52" fmla="*/ 176 w 184"/>
                  <a:gd name="T53" fmla="*/ 56 h 195"/>
                  <a:gd name="T54" fmla="*/ 168 w 184"/>
                  <a:gd name="T55" fmla="*/ 40 h 195"/>
                  <a:gd name="T56" fmla="*/ 157 w 184"/>
                  <a:gd name="T57" fmla="*/ 27 h 195"/>
                  <a:gd name="T58" fmla="*/ 143 w 184"/>
                  <a:gd name="T59" fmla="*/ 16 h 195"/>
                  <a:gd name="T60" fmla="*/ 127 w 184"/>
                  <a:gd name="T61" fmla="*/ 7 h 195"/>
                  <a:gd name="T62" fmla="*/ 110 w 184"/>
                  <a:gd name="T63" fmla="*/ 1 h 195"/>
                  <a:gd name="T64" fmla="*/ 91 w 184"/>
                  <a:gd name="T65" fmla="*/ 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4" h="195">
                    <a:moveTo>
                      <a:pt x="91" y="0"/>
                    </a:moveTo>
                    <a:lnTo>
                      <a:pt x="91" y="0"/>
                    </a:lnTo>
                    <a:lnTo>
                      <a:pt x="82" y="0"/>
                    </a:lnTo>
                    <a:lnTo>
                      <a:pt x="74" y="1"/>
                    </a:lnTo>
                    <a:lnTo>
                      <a:pt x="64" y="4"/>
                    </a:lnTo>
                    <a:lnTo>
                      <a:pt x="56" y="7"/>
                    </a:lnTo>
                    <a:lnTo>
                      <a:pt x="48" y="11"/>
                    </a:lnTo>
                    <a:lnTo>
                      <a:pt x="40" y="16"/>
                    </a:lnTo>
                    <a:lnTo>
                      <a:pt x="33" y="22"/>
                    </a:lnTo>
                    <a:lnTo>
                      <a:pt x="27" y="27"/>
                    </a:lnTo>
                    <a:lnTo>
                      <a:pt x="20" y="34"/>
                    </a:lnTo>
                    <a:lnTo>
                      <a:pt x="16" y="40"/>
                    </a:lnTo>
                    <a:lnTo>
                      <a:pt x="10" y="48"/>
                    </a:lnTo>
                    <a:lnTo>
                      <a:pt x="6" y="56"/>
                    </a:lnTo>
                    <a:lnTo>
                      <a:pt x="4" y="65"/>
                    </a:lnTo>
                    <a:lnTo>
                      <a:pt x="1" y="74"/>
                    </a:lnTo>
                    <a:lnTo>
                      <a:pt x="0" y="83"/>
                    </a:lnTo>
                    <a:lnTo>
                      <a:pt x="0" y="93"/>
                    </a:lnTo>
                    <a:lnTo>
                      <a:pt x="0" y="93"/>
                    </a:lnTo>
                    <a:lnTo>
                      <a:pt x="1" y="106"/>
                    </a:lnTo>
                    <a:lnTo>
                      <a:pt x="4" y="118"/>
                    </a:lnTo>
                    <a:lnTo>
                      <a:pt x="8" y="130"/>
                    </a:lnTo>
                    <a:lnTo>
                      <a:pt x="15" y="142"/>
                    </a:lnTo>
                    <a:lnTo>
                      <a:pt x="23" y="152"/>
                    </a:lnTo>
                    <a:lnTo>
                      <a:pt x="31" y="161"/>
                    </a:lnTo>
                    <a:lnTo>
                      <a:pt x="41" y="169"/>
                    </a:lnTo>
                    <a:lnTo>
                      <a:pt x="53" y="176"/>
                    </a:lnTo>
                    <a:lnTo>
                      <a:pt x="53" y="189"/>
                    </a:lnTo>
                    <a:lnTo>
                      <a:pt x="53" y="189"/>
                    </a:lnTo>
                    <a:lnTo>
                      <a:pt x="53" y="192"/>
                    </a:lnTo>
                    <a:lnTo>
                      <a:pt x="55" y="193"/>
                    </a:lnTo>
                    <a:lnTo>
                      <a:pt x="57" y="195"/>
                    </a:lnTo>
                    <a:lnTo>
                      <a:pt x="59" y="195"/>
                    </a:lnTo>
                    <a:lnTo>
                      <a:pt x="125" y="195"/>
                    </a:lnTo>
                    <a:lnTo>
                      <a:pt x="125" y="195"/>
                    </a:lnTo>
                    <a:lnTo>
                      <a:pt x="126" y="195"/>
                    </a:lnTo>
                    <a:lnTo>
                      <a:pt x="127" y="193"/>
                    </a:lnTo>
                    <a:lnTo>
                      <a:pt x="129" y="192"/>
                    </a:lnTo>
                    <a:lnTo>
                      <a:pt x="130" y="189"/>
                    </a:lnTo>
                    <a:lnTo>
                      <a:pt x="130" y="176"/>
                    </a:lnTo>
                    <a:lnTo>
                      <a:pt x="130" y="176"/>
                    </a:lnTo>
                    <a:lnTo>
                      <a:pt x="141" y="169"/>
                    </a:lnTo>
                    <a:lnTo>
                      <a:pt x="152" y="161"/>
                    </a:lnTo>
                    <a:lnTo>
                      <a:pt x="161" y="152"/>
                    </a:lnTo>
                    <a:lnTo>
                      <a:pt x="169" y="142"/>
                    </a:lnTo>
                    <a:lnTo>
                      <a:pt x="176" y="130"/>
                    </a:lnTo>
                    <a:lnTo>
                      <a:pt x="180" y="118"/>
                    </a:lnTo>
                    <a:lnTo>
                      <a:pt x="182" y="106"/>
                    </a:lnTo>
                    <a:lnTo>
                      <a:pt x="184" y="93"/>
                    </a:lnTo>
                    <a:lnTo>
                      <a:pt x="184" y="93"/>
                    </a:lnTo>
                    <a:lnTo>
                      <a:pt x="184" y="83"/>
                    </a:lnTo>
                    <a:lnTo>
                      <a:pt x="181" y="74"/>
                    </a:lnTo>
                    <a:lnTo>
                      <a:pt x="180" y="65"/>
                    </a:lnTo>
                    <a:lnTo>
                      <a:pt x="176" y="56"/>
                    </a:lnTo>
                    <a:lnTo>
                      <a:pt x="173" y="48"/>
                    </a:lnTo>
                    <a:lnTo>
                      <a:pt x="168" y="40"/>
                    </a:lnTo>
                    <a:lnTo>
                      <a:pt x="162" y="34"/>
                    </a:lnTo>
                    <a:lnTo>
                      <a:pt x="157" y="27"/>
                    </a:lnTo>
                    <a:lnTo>
                      <a:pt x="150" y="22"/>
                    </a:lnTo>
                    <a:lnTo>
                      <a:pt x="143" y="16"/>
                    </a:lnTo>
                    <a:lnTo>
                      <a:pt x="135" y="11"/>
                    </a:lnTo>
                    <a:lnTo>
                      <a:pt x="127" y="7"/>
                    </a:lnTo>
                    <a:lnTo>
                      <a:pt x="119" y="4"/>
                    </a:lnTo>
                    <a:lnTo>
                      <a:pt x="110" y="1"/>
                    </a:lnTo>
                    <a:lnTo>
                      <a:pt x="100" y="0"/>
                    </a:lnTo>
                    <a:lnTo>
                      <a:pt x="91" y="0"/>
                    </a:lnTo>
                    <a:lnTo>
                      <a:pt x="9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6" name="Freeform 167">
                <a:extLst>
                  <a:ext uri="{FF2B5EF4-FFF2-40B4-BE49-F238E27FC236}">
                    <a16:creationId xmlns:a16="http://schemas.microsoft.com/office/drawing/2014/main" id="{CD19A7A4-AEB9-4B8C-8747-3577C6849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6351" y="4533900"/>
                <a:ext cx="61913" cy="9525"/>
              </a:xfrm>
              <a:custGeom>
                <a:avLst/>
                <a:gdLst>
                  <a:gd name="T0" fmla="*/ 72 w 77"/>
                  <a:gd name="T1" fmla="*/ 0 h 11"/>
                  <a:gd name="T2" fmla="*/ 6 w 77"/>
                  <a:gd name="T3" fmla="*/ 0 h 11"/>
                  <a:gd name="T4" fmla="*/ 6 w 77"/>
                  <a:gd name="T5" fmla="*/ 0 h 11"/>
                  <a:gd name="T6" fmla="*/ 4 w 77"/>
                  <a:gd name="T7" fmla="*/ 0 h 11"/>
                  <a:gd name="T8" fmla="*/ 2 w 77"/>
                  <a:gd name="T9" fmla="*/ 1 h 11"/>
                  <a:gd name="T10" fmla="*/ 0 w 77"/>
                  <a:gd name="T11" fmla="*/ 3 h 11"/>
                  <a:gd name="T12" fmla="*/ 0 w 77"/>
                  <a:gd name="T13" fmla="*/ 5 h 11"/>
                  <a:gd name="T14" fmla="*/ 0 w 77"/>
                  <a:gd name="T15" fmla="*/ 5 h 11"/>
                  <a:gd name="T16" fmla="*/ 0 w 77"/>
                  <a:gd name="T17" fmla="*/ 7 h 11"/>
                  <a:gd name="T18" fmla="*/ 2 w 77"/>
                  <a:gd name="T19" fmla="*/ 9 h 11"/>
                  <a:gd name="T20" fmla="*/ 4 w 77"/>
                  <a:gd name="T21" fmla="*/ 11 h 11"/>
                  <a:gd name="T22" fmla="*/ 6 w 77"/>
                  <a:gd name="T23" fmla="*/ 11 h 11"/>
                  <a:gd name="T24" fmla="*/ 72 w 77"/>
                  <a:gd name="T25" fmla="*/ 11 h 11"/>
                  <a:gd name="T26" fmla="*/ 72 w 77"/>
                  <a:gd name="T27" fmla="*/ 11 h 11"/>
                  <a:gd name="T28" fmla="*/ 73 w 77"/>
                  <a:gd name="T29" fmla="*/ 11 h 11"/>
                  <a:gd name="T30" fmla="*/ 74 w 77"/>
                  <a:gd name="T31" fmla="*/ 9 h 11"/>
                  <a:gd name="T32" fmla="*/ 76 w 77"/>
                  <a:gd name="T33" fmla="*/ 7 h 11"/>
                  <a:gd name="T34" fmla="*/ 77 w 77"/>
                  <a:gd name="T35" fmla="*/ 5 h 11"/>
                  <a:gd name="T36" fmla="*/ 77 w 77"/>
                  <a:gd name="T37" fmla="*/ 5 h 11"/>
                  <a:gd name="T38" fmla="*/ 76 w 77"/>
                  <a:gd name="T39" fmla="*/ 3 h 11"/>
                  <a:gd name="T40" fmla="*/ 74 w 77"/>
                  <a:gd name="T41" fmla="*/ 1 h 11"/>
                  <a:gd name="T42" fmla="*/ 73 w 77"/>
                  <a:gd name="T43" fmla="*/ 0 h 11"/>
                  <a:gd name="T44" fmla="*/ 72 w 77"/>
                  <a:gd name="T45" fmla="*/ 0 h 11"/>
                  <a:gd name="T46" fmla="*/ 72 w 77"/>
                  <a:gd name="T4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7" h="11">
                    <a:moveTo>
                      <a:pt x="72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4" y="11"/>
                    </a:lnTo>
                    <a:lnTo>
                      <a:pt x="6" y="11"/>
                    </a:lnTo>
                    <a:lnTo>
                      <a:pt x="72" y="11"/>
                    </a:lnTo>
                    <a:lnTo>
                      <a:pt x="72" y="11"/>
                    </a:lnTo>
                    <a:lnTo>
                      <a:pt x="73" y="11"/>
                    </a:lnTo>
                    <a:lnTo>
                      <a:pt x="74" y="9"/>
                    </a:lnTo>
                    <a:lnTo>
                      <a:pt x="76" y="7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6" y="3"/>
                    </a:lnTo>
                    <a:lnTo>
                      <a:pt x="74" y="1"/>
                    </a:lnTo>
                    <a:lnTo>
                      <a:pt x="73" y="0"/>
                    </a:lnTo>
                    <a:lnTo>
                      <a:pt x="72" y="0"/>
                    </a:lnTo>
                    <a:lnTo>
                      <a:pt x="7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7" name="Freeform 168">
                <a:extLst>
                  <a:ext uri="{FF2B5EF4-FFF2-40B4-BE49-F238E27FC236}">
                    <a16:creationId xmlns:a16="http://schemas.microsoft.com/office/drawing/2014/main" id="{E480529F-C248-41BF-A6AD-17617C4DCC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3813" y="4554538"/>
                <a:ext cx="25400" cy="7938"/>
              </a:xfrm>
              <a:custGeom>
                <a:avLst/>
                <a:gdLst>
                  <a:gd name="T0" fmla="*/ 27 w 32"/>
                  <a:gd name="T1" fmla="*/ 0 h 11"/>
                  <a:gd name="T2" fmla="*/ 5 w 32"/>
                  <a:gd name="T3" fmla="*/ 0 h 11"/>
                  <a:gd name="T4" fmla="*/ 5 w 32"/>
                  <a:gd name="T5" fmla="*/ 0 h 11"/>
                  <a:gd name="T6" fmla="*/ 4 w 32"/>
                  <a:gd name="T7" fmla="*/ 1 h 11"/>
                  <a:gd name="T8" fmla="*/ 1 w 32"/>
                  <a:gd name="T9" fmla="*/ 3 h 11"/>
                  <a:gd name="T10" fmla="*/ 1 w 32"/>
                  <a:gd name="T11" fmla="*/ 4 h 11"/>
                  <a:gd name="T12" fmla="*/ 0 w 32"/>
                  <a:gd name="T13" fmla="*/ 6 h 11"/>
                  <a:gd name="T14" fmla="*/ 0 w 32"/>
                  <a:gd name="T15" fmla="*/ 6 h 11"/>
                  <a:gd name="T16" fmla="*/ 1 w 32"/>
                  <a:gd name="T17" fmla="*/ 8 h 11"/>
                  <a:gd name="T18" fmla="*/ 1 w 32"/>
                  <a:gd name="T19" fmla="*/ 10 h 11"/>
                  <a:gd name="T20" fmla="*/ 4 w 32"/>
                  <a:gd name="T21" fmla="*/ 11 h 11"/>
                  <a:gd name="T22" fmla="*/ 5 w 32"/>
                  <a:gd name="T23" fmla="*/ 11 h 11"/>
                  <a:gd name="T24" fmla="*/ 27 w 32"/>
                  <a:gd name="T25" fmla="*/ 11 h 11"/>
                  <a:gd name="T26" fmla="*/ 27 w 32"/>
                  <a:gd name="T27" fmla="*/ 11 h 11"/>
                  <a:gd name="T28" fmla="*/ 29 w 32"/>
                  <a:gd name="T29" fmla="*/ 11 h 11"/>
                  <a:gd name="T30" fmla="*/ 31 w 32"/>
                  <a:gd name="T31" fmla="*/ 10 h 11"/>
                  <a:gd name="T32" fmla="*/ 32 w 32"/>
                  <a:gd name="T33" fmla="*/ 8 h 11"/>
                  <a:gd name="T34" fmla="*/ 32 w 32"/>
                  <a:gd name="T35" fmla="*/ 6 h 11"/>
                  <a:gd name="T36" fmla="*/ 32 w 32"/>
                  <a:gd name="T37" fmla="*/ 6 h 11"/>
                  <a:gd name="T38" fmla="*/ 32 w 32"/>
                  <a:gd name="T39" fmla="*/ 4 h 11"/>
                  <a:gd name="T40" fmla="*/ 31 w 32"/>
                  <a:gd name="T41" fmla="*/ 3 h 11"/>
                  <a:gd name="T42" fmla="*/ 29 w 32"/>
                  <a:gd name="T43" fmla="*/ 1 h 11"/>
                  <a:gd name="T44" fmla="*/ 27 w 32"/>
                  <a:gd name="T45" fmla="*/ 0 h 11"/>
                  <a:gd name="T46" fmla="*/ 27 w 32"/>
                  <a:gd name="T4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2" h="11">
                    <a:moveTo>
                      <a:pt x="27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8"/>
                    </a:lnTo>
                    <a:lnTo>
                      <a:pt x="1" y="10"/>
                    </a:lnTo>
                    <a:lnTo>
                      <a:pt x="4" y="11"/>
                    </a:lnTo>
                    <a:lnTo>
                      <a:pt x="5" y="11"/>
                    </a:lnTo>
                    <a:lnTo>
                      <a:pt x="27" y="11"/>
                    </a:lnTo>
                    <a:lnTo>
                      <a:pt x="27" y="11"/>
                    </a:lnTo>
                    <a:lnTo>
                      <a:pt x="29" y="11"/>
                    </a:lnTo>
                    <a:lnTo>
                      <a:pt x="31" y="10"/>
                    </a:lnTo>
                    <a:lnTo>
                      <a:pt x="32" y="8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4"/>
                    </a:lnTo>
                    <a:lnTo>
                      <a:pt x="31" y="3"/>
                    </a:lnTo>
                    <a:lnTo>
                      <a:pt x="29" y="1"/>
                    </a:lnTo>
                    <a:lnTo>
                      <a:pt x="27" y="0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4AE06CEF-75CA-4961-9775-CF0990EEA8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457210" y="1046637"/>
            <a:ext cx="1097280" cy="1097280"/>
            <a:chOff x="2457210" y="1046637"/>
            <a:chExt cx="1303795" cy="125888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4B07CF6C-0EBE-4028-98B1-08710E4BF667}"/>
                </a:ext>
              </a:extLst>
            </p:cNvPr>
            <p:cNvSpPr/>
            <p:nvPr/>
          </p:nvSpPr>
          <p:spPr bwMode="gray">
            <a:xfrm>
              <a:off x="2457210" y="1046637"/>
              <a:ext cx="1303795" cy="1258880"/>
            </a:xfrm>
            <a:prstGeom prst="ellipse">
              <a:avLst/>
            </a:prstGeom>
            <a:solidFill>
              <a:srgbClr val="00B050"/>
            </a:solidFill>
            <a:ln w="762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8" name="Freeform 20">
              <a:extLst>
                <a:ext uri="{FF2B5EF4-FFF2-40B4-BE49-F238E27FC236}">
                  <a16:creationId xmlns:a16="http://schemas.microsoft.com/office/drawing/2014/main" id="{E3BD7071-DA5A-42C4-AA41-6B7C23CAD1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5317" y="1262287"/>
              <a:ext cx="827580" cy="827580"/>
            </a:xfrm>
            <a:custGeom>
              <a:avLst/>
              <a:gdLst>
                <a:gd name="T0" fmla="*/ 313 w 658"/>
                <a:gd name="T1" fmla="*/ 657 h 658"/>
                <a:gd name="T2" fmla="*/ 263 w 658"/>
                <a:gd name="T3" fmla="*/ 651 h 658"/>
                <a:gd name="T4" fmla="*/ 201 w 658"/>
                <a:gd name="T5" fmla="*/ 631 h 658"/>
                <a:gd name="T6" fmla="*/ 120 w 658"/>
                <a:gd name="T7" fmla="*/ 583 h 658"/>
                <a:gd name="T8" fmla="*/ 56 w 658"/>
                <a:gd name="T9" fmla="*/ 513 h 658"/>
                <a:gd name="T10" fmla="*/ 14 w 658"/>
                <a:gd name="T11" fmla="*/ 426 h 658"/>
                <a:gd name="T12" fmla="*/ 4 w 658"/>
                <a:gd name="T13" fmla="*/ 379 h 658"/>
                <a:gd name="T14" fmla="*/ 0 w 658"/>
                <a:gd name="T15" fmla="*/ 329 h 658"/>
                <a:gd name="T16" fmla="*/ 2 w 658"/>
                <a:gd name="T17" fmla="*/ 295 h 658"/>
                <a:gd name="T18" fmla="*/ 10 w 658"/>
                <a:gd name="T19" fmla="*/ 247 h 658"/>
                <a:gd name="T20" fmla="*/ 40 w 658"/>
                <a:gd name="T21" fmla="*/ 172 h 658"/>
                <a:gd name="T22" fmla="*/ 96 w 658"/>
                <a:gd name="T23" fmla="*/ 96 h 658"/>
                <a:gd name="T24" fmla="*/ 173 w 658"/>
                <a:gd name="T25" fmla="*/ 40 h 658"/>
                <a:gd name="T26" fmla="*/ 247 w 658"/>
                <a:gd name="T27" fmla="*/ 10 h 658"/>
                <a:gd name="T28" fmla="*/ 295 w 658"/>
                <a:gd name="T29" fmla="*/ 1 h 658"/>
                <a:gd name="T30" fmla="*/ 329 w 658"/>
                <a:gd name="T31" fmla="*/ 0 h 658"/>
                <a:gd name="T32" fmla="*/ 378 w 658"/>
                <a:gd name="T33" fmla="*/ 4 h 658"/>
                <a:gd name="T34" fmla="*/ 427 w 658"/>
                <a:gd name="T35" fmla="*/ 15 h 658"/>
                <a:gd name="T36" fmla="*/ 513 w 658"/>
                <a:gd name="T37" fmla="*/ 56 h 658"/>
                <a:gd name="T38" fmla="*/ 583 w 658"/>
                <a:gd name="T39" fmla="*/ 119 h 658"/>
                <a:gd name="T40" fmla="*/ 632 w 658"/>
                <a:gd name="T41" fmla="*/ 201 h 658"/>
                <a:gd name="T42" fmla="*/ 651 w 658"/>
                <a:gd name="T43" fmla="*/ 263 h 658"/>
                <a:gd name="T44" fmla="*/ 658 w 658"/>
                <a:gd name="T45" fmla="*/ 311 h 658"/>
                <a:gd name="T46" fmla="*/ 658 w 658"/>
                <a:gd name="T47" fmla="*/ 345 h 658"/>
                <a:gd name="T48" fmla="*/ 651 w 658"/>
                <a:gd name="T49" fmla="*/ 395 h 658"/>
                <a:gd name="T50" fmla="*/ 632 w 658"/>
                <a:gd name="T51" fmla="*/ 456 h 658"/>
                <a:gd name="T52" fmla="*/ 583 w 658"/>
                <a:gd name="T53" fmla="*/ 537 h 658"/>
                <a:gd name="T54" fmla="*/ 513 w 658"/>
                <a:gd name="T55" fmla="*/ 601 h 658"/>
                <a:gd name="T56" fmla="*/ 427 w 658"/>
                <a:gd name="T57" fmla="*/ 643 h 658"/>
                <a:gd name="T58" fmla="*/ 378 w 658"/>
                <a:gd name="T59" fmla="*/ 654 h 658"/>
                <a:gd name="T60" fmla="*/ 329 w 658"/>
                <a:gd name="T61" fmla="*/ 658 h 658"/>
                <a:gd name="T62" fmla="*/ 329 w 658"/>
                <a:gd name="T63" fmla="*/ 37 h 658"/>
                <a:gd name="T64" fmla="*/ 243 w 658"/>
                <a:gd name="T65" fmla="*/ 51 h 658"/>
                <a:gd name="T66" fmla="*/ 166 w 658"/>
                <a:gd name="T67" fmla="*/ 87 h 658"/>
                <a:gd name="T68" fmla="*/ 104 w 658"/>
                <a:gd name="T69" fmla="*/ 143 h 658"/>
                <a:gd name="T70" fmla="*/ 61 w 658"/>
                <a:gd name="T71" fmla="*/ 215 h 658"/>
                <a:gd name="T72" fmla="*/ 40 w 658"/>
                <a:gd name="T73" fmla="*/ 299 h 658"/>
                <a:gd name="T74" fmla="*/ 40 w 658"/>
                <a:gd name="T75" fmla="*/ 358 h 658"/>
                <a:gd name="T76" fmla="*/ 61 w 658"/>
                <a:gd name="T77" fmla="*/ 442 h 658"/>
                <a:gd name="T78" fmla="*/ 104 w 658"/>
                <a:gd name="T79" fmla="*/ 514 h 658"/>
                <a:gd name="T80" fmla="*/ 166 w 658"/>
                <a:gd name="T81" fmla="*/ 569 h 658"/>
                <a:gd name="T82" fmla="*/ 243 w 658"/>
                <a:gd name="T83" fmla="*/ 607 h 658"/>
                <a:gd name="T84" fmla="*/ 329 w 658"/>
                <a:gd name="T85" fmla="*/ 620 h 658"/>
                <a:gd name="T86" fmla="*/ 388 w 658"/>
                <a:gd name="T87" fmla="*/ 614 h 658"/>
                <a:gd name="T88" fmla="*/ 467 w 658"/>
                <a:gd name="T89" fmla="*/ 584 h 658"/>
                <a:gd name="T90" fmla="*/ 534 w 658"/>
                <a:gd name="T91" fmla="*/ 534 h 658"/>
                <a:gd name="T92" fmla="*/ 585 w 658"/>
                <a:gd name="T93" fmla="*/ 467 h 658"/>
                <a:gd name="T94" fmla="*/ 615 w 658"/>
                <a:gd name="T95" fmla="*/ 387 h 658"/>
                <a:gd name="T96" fmla="*/ 620 w 658"/>
                <a:gd name="T97" fmla="*/ 329 h 658"/>
                <a:gd name="T98" fmla="*/ 607 w 658"/>
                <a:gd name="T99" fmla="*/ 242 h 658"/>
                <a:gd name="T100" fmla="*/ 570 w 658"/>
                <a:gd name="T101" fmla="*/ 166 h 658"/>
                <a:gd name="T102" fmla="*/ 514 w 658"/>
                <a:gd name="T103" fmla="*/ 105 h 658"/>
                <a:gd name="T104" fmla="*/ 443 w 658"/>
                <a:gd name="T105" fmla="*/ 60 h 658"/>
                <a:gd name="T106" fmla="*/ 358 w 658"/>
                <a:gd name="T107" fmla="*/ 39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8" h="658">
                  <a:moveTo>
                    <a:pt x="329" y="658"/>
                  </a:moveTo>
                  <a:lnTo>
                    <a:pt x="329" y="658"/>
                  </a:lnTo>
                  <a:lnTo>
                    <a:pt x="313" y="657"/>
                  </a:lnTo>
                  <a:lnTo>
                    <a:pt x="295" y="655"/>
                  </a:lnTo>
                  <a:lnTo>
                    <a:pt x="279" y="654"/>
                  </a:lnTo>
                  <a:lnTo>
                    <a:pt x="263" y="651"/>
                  </a:lnTo>
                  <a:lnTo>
                    <a:pt x="247" y="647"/>
                  </a:lnTo>
                  <a:lnTo>
                    <a:pt x="232" y="643"/>
                  </a:lnTo>
                  <a:lnTo>
                    <a:pt x="201" y="631"/>
                  </a:lnTo>
                  <a:lnTo>
                    <a:pt x="173" y="618"/>
                  </a:lnTo>
                  <a:lnTo>
                    <a:pt x="145" y="601"/>
                  </a:lnTo>
                  <a:lnTo>
                    <a:pt x="120" y="583"/>
                  </a:lnTo>
                  <a:lnTo>
                    <a:pt x="96" y="561"/>
                  </a:lnTo>
                  <a:lnTo>
                    <a:pt x="75" y="537"/>
                  </a:lnTo>
                  <a:lnTo>
                    <a:pt x="56" y="513"/>
                  </a:lnTo>
                  <a:lnTo>
                    <a:pt x="40" y="485"/>
                  </a:lnTo>
                  <a:lnTo>
                    <a:pt x="26" y="456"/>
                  </a:lnTo>
                  <a:lnTo>
                    <a:pt x="14" y="426"/>
                  </a:lnTo>
                  <a:lnTo>
                    <a:pt x="10" y="411"/>
                  </a:lnTo>
                  <a:lnTo>
                    <a:pt x="6" y="395"/>
                  </a:lnTo>
                  <a:lnTo>
                    <a:pt x="4" y="379"/>
                  </a:lnTo>
                  <a:lnTo>
                    <a:pt x="2" y="362"/>
                  </a:lnTo>
                  <a:lnTo>
                    <a:pt x="1" y="345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1" y="311"/>
                  </a:lnTo>
                  <a:lnTo>
                    <a:pt x="2" y="295"/>
                  </a:lnTo>
                  <a:lnTo>
                    <a:pt x="4" y="279"/>
                  </a:lnTo>
                  <a:lnTo>
                    <a:pt x="6" y="263"/>
                  </a:lnTo>
                  <a:lnTo>
                    <a:pt x="10" y="247"/>
                  </a:lnTo>
                  <a:lnTo>
                    <a:pt x="14" y="231"/>
                  </a:lnTo>
                  <a:lnTo>
                    <a:pt x="26" y="201"/>
                  </a:lnTo>
                  <a:lnTo>
                    <a:pt x="40" y="172"/>
                  </a:lnTo>
                  <a:lnTo>
                    <a:pt x="56" y="145"/>
                  </a:lnTo>
                  <a:lnTo>
                    <a:pt x="75" y="119"/>
                  </a:lnTo>
                  <a:lnTo>
                    <a:pt x="96" y="96"/>
                  </a:lnTo>
                  <a:lnTo>
                    <a:pt x="120" y="75"/>
                  </a:lnTo>
                  <a:lnTo>
                    <a:pt x="145" y="56"/>
                  </a:lnTo>
                  <a:lnTo>
                    <a:pt x="173" y="40"/>
                  </a:lnTo>
                  <a:lnTo>
                    <a:pt x="201" y="25"/>
                  </a:lnTo>
                  <a:lnTo>
                    <a:pt x="232" y="15"/>
                  </a:lnTo>
                  <a:lnTo>
                    <a:pt x="247" y="10"/>
                  </a:lnTo>
                  <a:lnTo>
                    <a:pt x="263" y="6"/>
                  </a:lnTo>
                  <a:lnTo>
                    <a:pt x="279" y="4"/>
                  </a:lnTo>
                  <a:lnTo>
                    <a:pt x="295" y="1"/>
                  </a:lnTo>
                  <a:lnTo>
                    <a:pt x="313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6" y="0"/>
                  </a:lnTo>
                  <a:lnTo>
                    <a:pt x="362" y="1"/>
                  </a:lnTo>
                  <a:lnTo>
                    <a:pt x="378" y="4"/>
                  </a:lnTo>
                  <a:lnTo>
                    <a:pt x="396" y="6"/>
                  </a:lnTo>
                  <a:lnTo>
                    <a:pt x="411" y="10"/>
                  </a:lnTo>
                  <a:lnTo>
                    <a:pt x="427" y="15"/>
                  </a:lnTo>
                  <a:lnTo>
                    <a:pt x="456" y="25"/>
                  </a:lnTo>
                  <a:lnTo>
                    <a:pt x="486" y="40"/>
                  </a:lnTo>
                  <a:lnTo>
                    <a:pt x="513" y="56"/>
                  </a:lnTo>
                  <a:lnTo>
                    <a:pt x="538" y="75"/>
                  </a:lnTo>
                  <a:lnTo>
                    <a:pt x="561" y="96"/>
                  </a:lnTo>
                  <a:lnTo>
                    <a:pt x="583" y="119"/>
                  </a:lnTo>
                  <a:lnTo>
                    <a:pt x="601" y="145"/>
                  </a:lnTo>
                  <a:lnTo>
                    <a:pt x="617" y="172"/>
                  </a:lnTo>
                  <a:lnTo>
                    <a:pt x="632" y="201"/>
                  </a:lnTo>
                  <a:lnTo>
                    <a:pt x="643" y="231"/>
                  </a:lnTo>
                  <a:lnTo>
                    <a:pt x="647" y="247"/>
                  </a:lnTo>
                  <a:lnTo>
                    <a:pt x="651" y="263"/>
                  </a:lnTo>
                  <a:lnTo>
                    <a:pt x="654" y="279"/>
                  </a:lnTo>
                  <a:lnTo>
                    <a:pt x="656" y="295"/>
                  </a:lnTo>
                  <a:lnTo>
                    <a:pt x="658" y="311"/>
                  </a:lnTo>
                  <a:lnTo>
                    <a:pt x="658" y="329"/>
                  </a:lnTo>
                  <a:lnTo>
                    <a:pt x="658" y="329"/>
                  </a:lnTo>
                  <a:lnTo>
                    <a:pt x="658" y="345"/>
                  </a:lnTo>
                  <a:lnTo>
                    <a:pt x="656" y="362"/>
                  </a:lnTo>
                  <a:lnTo>
                    <a:pt x="654" y="379"/>
                  </a:lnTo>
                  <a:lnTo>
                    <a:pt x="651" y="395"/>
                  </a:lnTo>
                  <a:lnTo>
                    <a:pt x="647" y="411"/>
                  </a:lnTo>
                  <a:lnTo>
                    <a:pt x="643" y="426"/>
                  </a:lnTo>
                  <a:lnTo>
                    <a:pt x="632" y="456"/>
                  </a:lnTo>
                  <a:lnTo>
                    <a:pt x="617" y="485"/>
                  </a:lnTo>
                  <a:lnTo>
                    <a:pt x="601" y="513"/>
                  </a:lnTo>
                  <a:lnTo>
                    <a:pt x="583" y="537"/>
                  </a:lnTo>
                  <a:lnTo>
                    <a:pt x="561" y="561"/>
                  </a:lnTo>
                  <a:lnTo>
                    <a:pt x="538" y="583"/>
                  </a:lnTo>
                  <a:lnTo>
                    <a:pt x="513" y="601"/>
                  </a:lnTo>
                  <a:lnTo>
                    <a:pt x="486" y="618"/>
                  </a:lnTo>
                  <a:lnTo>
                    <a:pt x="456" y="631"/>
                  </a:lnTo>
                  <a:lnTo>
                    <a:pt x="427" y="643"/>
                  </a:lnTo>
                  <a:lnTo>
                    <a:pt x="411" y="647"/>
                  </a:lnTo>
                  <a:lnTo>
                    <a:pt x="396" y="651"/>
                  </a:lnTo>
                  <a:lnTo>
                    <a:pt x="378" y="654"/>
                  </a:lnTo>
                  <a:lnTo>
                    <a:pt x="362" y="655"/>
                  </a:lnTo>
                  <a:lnTo>
                    <a:pt x="346" y="657"/>
                  </a:lnTo>
                  <a:lnTo>
                    <a:pt x="329" y="658"/>
                  </a:lnTo>
                  <a:lnTo>
                    <a:pt x="329" y="658"/>
                  </a:lnTo>
                  <a:close/>
                  <a:moveTo>
                    <a:pt x="329" y="37"/>
                  </a:moveTo>
                  <a:lnTo>
                    <a:pt x="329" y="37"/>
                  </a:lnTo>
                  <a:lnTo>
                    <a:pt x="299" y="39"/>
                  </a:lnTo>
                  <a:lnTo>
                    <a:pt x="271" y="43"/>
                  </a:lnTo>
                  <a:lnTo>
                    <a:pt x="243" y="51"/>
                  </a:lnTo>
                  <a:lnTo>
                    <a:pt x="216" y="60"/>
                  </a:lnTo>
                  <a:lnTo>
                    <a:pt x="190" y="72"/>
                  </a:lnTo>
                  <a:lnTo>
                    <a:pt x="166" y="87"/>
                  </a:lnTo>
                  <a:lnTo>
                    <a:pt x="143" y="105"/>
                  </a:lnTo>
                  <a:lnTo>
                    <a:pt x="123" y="123"/>
                  </a:lnTo>
                  <a:lnTo>
                    <a:pt x="104" y="143"/>
                  </a:lnTo>
                  <a:lnTo>
                    <a:pt x="88" y="166"/>
                  </a:lnTo>
                  <a:lnTo>
                    <a:pt x="73" y="190"/>
                  </a:lnTo>
                  <a:lnTo>
                    <a:pt x="61" y="215"/>
                  </a:lnTo>
                  <a:lnTo>
                    <a:pt x="51" y="242"/>
                  </a:lnTo>
                  <a:lnTo>
                    <a:pt x="44" y="270"/>
                  </a:lnTo>
                  <a:lnTo>
                    <a:pt x="40" y="299"/>
                  </a:lnTo>
                  <a:lnTo>
                    <a:pt x="37" y="329"/>
                  </a:lnTo>
                  <a:lnTo>
                    <a:pt x="37" y="329"/>
                  </a:lnTo>
                  <a:lnTo>
                    <a:pt x="40" y="358"/>
                  </a:lnTo>
                  <a:lnTo>
                    <a:pt x="44" y="387"/>
                  </a:lnTo>
                  <a:lnTo>
                    <a:pt x="51" y="415"/>
                  </a:lnTo>
                  <a:lnTo>
                    <a:pt x="61" y="442"/>
                  </a:lnTo>
                  <a:lnTo>
                    <a:pt x="73" y="467"/>
                  </a:lnTo>
                  <a:lnTo>
                    <a:pt x="88" y="491"/>
                  </a:lnTo>
                  <a:lnTo>
                    <a:pt x="104" y="514"/>
                  </a:lnTo>
                  <a:lnTo>
                    <a:pt x="123" y="534"/>
                  </a:lnTo>
                  <a:lnTo>
                    <a:pt x="143" y="553"/>
                  </a:lnTo>
                  <a:lnTo>
                    <a:pt x="166" y="569"/>
                  </a:lnTo>
                  <a:lnTo>
                    <a:pt x="190" y="584"/>
                  </a:lnTo>
                  <a:lnTo>
                    <a:pt x="216" y="596"/>
                  </a:lnTo>
                  <a:lnTo>
                    <a:pt x="243" y="607"/>
                  </a:lnTo>
                  <a:lnTo>
                    <a:pt x="271" y="614"/>
                  </a:lnTo>
                  <a:lnTo>
                    <a:pt x="299" y="618"/>
                  </a:lnTo>
                  <a:lnTo>
                    <a:pt x="329" y="620"/>
                  </a:lnTo>
                  <a:lnTo>
                    <a:pt x="329" y="620"/>
                  </a:lnTo>
                  <a:lnTo>
                    <a:pt x="358" y="618"/>
                  </a:lnTo>
                  <a:lnTo>
                    <a:pt x="388" y="614"/>
                  </a:lnTo>
                  <a:lnTo>
                    <a:pt x="416" y="607"/>
                  </a:lnTo>
                  <a:lnTo>
                    <a:pt x="443" y="596"/>
                  </a:lnTo>
                  <a:lnTo>
                    <a:pt x="467" y="584"/>
                  </a:lnTo>
                  <a:lnTo>
                    <a:pt x="491" y="569"/>
                  </a:lnTo>
                  <a:lnTo>
                    <a:pt x="514" y="553"/>
                  </a:lnTo>
                  <a:lnTo>
                    <a:pt x="534" y="534"/>
                  </a:lnTo>
                  <a:lnTo>
                    <a:pt x="553" y="514"/>
                  </a:lnTo>
                  <a:lnTo>
                    <a:pt x="570" y="491"/>
                  </a:lnTo>
                  <a:lnTo>
                    <a:pt x="585" y="467"/>
                  </a:lnTo>
                  <a:lnTo>
                    <a:pt x="597" y="442"/>
                  </a:lnTo>
                  <a:lnTo>
                    <a:pt x="607" y="415"/>
                  </a:lnTo>
                  <a:lnTo>
                    <a:pt x="615" y="387"/>
                  </a:lnTo>
                  <a:lnTo>
                    <a:pt x="619" y="358"/>
                  </a:lnTo>
                  <a:lnTo>
                    <a:pt x="620" y="329"/>
                  </a:lnTo>
                  <a:lnTo>
                    <a:pt x="620" y="329"/>
                  </a:lnTo>
                  <a:lnTo>
                    <a:pt x="619" y="299"/>
                  </a:lnTo>
                  <a:lnTo>
                    <a:pt x="615" y="270"/>
                  </a:lnTo>
                  <a:lnTo>
                    <a:pt x="607" y="242"/>
                  </a:lnTo>
                  <a:lnTo>
                    <a:pt x="597" y="215"/>
                  </a:lnTo>
                  <a:lnTo>
                    <a:pt x="585" y="190"/>
                  </a:lnTo>
                  <a:lnTo>
                    <a:pt x="570" y="166"/>
                  </a:lnTo>
                  <a:lnTo>
                    <a:pt x="553" y="143"/>
                  </a:lnTo>
                  <a:lnTo>
                    <a:pt x="534" y="123"/>
                  </a:lnTo>
                  <a:lnTo>
                    <a:pt x="514" y="105"/>
                  </a:lnTo>
                  <a:lnTo>
                    <a:pt x="491" y="87"/>
                  </a:lnTo>
                  <a:lnTo>
                    <a:pt x="467" y="72"/>
                  </a:lnTo>
                  <a:lnTo>
                    <a:pt x="443" y="60"/>
                  </a:lnTo>
                  <a:lnTo>
                    <a:pt x="416" y="51"/>
                  </a:lnTo>
                  <a:lnTo>
                    <a:pt x="388" y="43"/>
                  </a:lnTo>
                  <a:lnTo>
                    <a:pt x="358" y="39"/>
                  </a:lnTo>
                  <a:lnTo>
                    <a:pt x="329" y="37"/>
                  </a:lnTo>
                  <a:lnTo>
                    <a:pt x="329" y="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pic>
          <p:nvPicPr>
            <p:cNvPr id="23" name="Graphic 22" descr="Continuous Improvement with solid fill">
              <a:extLst>
                <a:ext uri="{FF2B5EF4-FFF2-40B4-BE49-F238E27FC236}">
                  <a16:creationId xmlns:a16="http://schemas.microsoft.com/office/drawing/2014/main" id="{0DE67DEC-502D-47F6-A285-3E11EB5F07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762009" y="1310317"/>
              <a:ext cx="731520" cy="731520"/>
            </a:xfrm>
            <a:prstGeom prst="rect">
              <a:avLst/>
            </a:prstGeom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E5AC173-F751-40B3-96AB-7C376D94F3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295374" y="1046637"/>
            <a:ext cx="1097280" cy="1097280"/>
            <a:chOff x="8295374" y="1046637"/>
            <a:chExt cx="1303795" cy="1258880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6B161EA-4901-4699-B0C6-D00D41674DE3}"/>
                </a:ext>
              </a:extLst>
            </p:cNvPr>
            <p:cNvGrpSpPr/>
            <p:nvPr/>
          </p:nvGrpSpPr>
          <p:grpSpPr>
            <a:xfrm>
              <a:off x="8295374" y="1046637"/>
              <a:ext cx="1303795" cy="1258880"/>
              <a:chOff x="8295374" y="1391873"/>
              <a:chExt cx="1303795" cy="1258880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6A8EE8F5-46B1-4A03-ADA3-F8E53462FA64}"/>
                  </a:ext>
                </a:extLst>
              </p:cNvPr>
              <p:cNvSpPr/>
              <p:nvPr/>
            </p:nvSpPr>
            <p:spPr bwMode="gray">
              <a:xfrm>
                <a:off x="8295374" y="1391873"/>
                <a:ext cx="1303795" cy="1258880"/>
              </a:xfrm>
              <a:prstGeom prst="ellipse">
                <a:avLst/>
              </a:prstGeom>
              <a:solidFill>
                <a:srgbClr val="00B050"/>
              </a:solidFill>
              <a:ln w="76200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49" name="Freeform 67">
                <a:extLst>
                  <a:ext uri="{FF2B5EF4-FFF2-40B4-BE49-F238E27FC236}">
                    <a16:creationId xmlns:a16="http://schemas.microsoft.com/office/drawing/2014/main" id="{2F578317-0723-49AC-B69E-41A010E493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532484" y="1605261"/>
                <a:ext cx="829574" cy="832104"/>
              </a:xfrm>
              <a:custGeom>
                <a:avLst/>
                <a:gdLst>
                  <a:gd name="T0" fmla="*/ 312 w 657"/>
                  <a:gd name="T1" fmla="*/ 657 h 658"/>
                  <a:gd name="T2" fmla="*/ 262 w 657"/>
                  <a:gd name="T3" fmla="*/ 652 h 658"/>
                  <a:gd name="T4" fmla="*/ 200 w 657"/>
                  <a:gd name="T5" fmla="*/ 633 h 658"/>
                  <a:gd name="T6" fmla="*/ 120 w 657"/>
                  <a:gd name="T7" fmla="*/ 583 h 658"/>
                  <a:gd name="T8" fmla="*/ 57 w 657"/>
                  <a:gd name="T9" fmla="*/ 513 h 658"/>
                  <a:gd name="T10" fmla="*/ 15 w 657"/>
                  <a:gd name="T11" fmla="*/ 427 h 658"/>
                  <a:gd name="T12" fmla="*/ 4 w 657"/>
                  <a:gd name="T13" fmla="*/ 379 h 658"/>
                  <a:gd name="T14" fmla="*/ 0 w 657"/>
                  <a:gd name="T15" fmla="*/ 329 h 658"/>
                  <a:gd name="T16" fmla="*/ 2 w 657"/>
                  <a:gd name="T17" fmla="*/ 296 h 658"/>
                  <a:gd name="T18" fmla="*/ 11 w 657"/>
                  <a:gd name="T19" fmla="*/ 247 h 658"/>
                  <a:gd name="T20" fmla="*/ 39 w 657"/>
                  <a:gd name="T21" fmla="*/ 172 h 658"/>
                  <a:gd name="T22" fmla="*/ 97 w 657"/>
                  <a:gd name="T23" fmla="*/ 97 h 658"/>
                  <a:gd name="T24" fmla="*/ 172 w 657"/>
                  <a:gd name="T25" fmla="*/ 41 h 658"/>
                  <a:gd name="T26" fmla="*/ 246 w 657"/>
                  <a:gd name="T27" fmla="*/ 11 h 658"/>
                  <a:gd name="T28" fmla="*/ 296 w 657"/>
                  <a:gd name="T29" fmla="*/ 3 h 658"/>
                  <a:gd name="T30" fmla="*/ 329 w 657"/>
                  <a:gd name="T31" fmla="*/ 0 h 658"/>
                  <a:gd name="T32" fmla="*/ 379 w 657"/>
                  <a:gd name="T33" fmla="*/ 4 h 658"/>
                  <a:gd name="T34" fmla="*/ 426 w 657"/>
                  <a:gd name="T35" fmla="*/ 15 h 658"/>
                  <a:gd name="T36" fmla="*/ 512 w 657"/>
                  <a:gd name="T37" fmla="*/ 57 h 658"/>
                  <a:gd name="T38" fmla="*/ 582 w 657"/>
                  <a:gd name="T39" fmla="*/ 120 h 658"/>
                  <a:gd name="T40" fmla="*/ 631 w 657"/>
                  <a:gd name="T41" fmla="*/ 202 h 658"/>
                  <a:gd name="T42" fmla="*/ 650 w 657"/>
                  <a:gd name="T43" fmla="*/ 263 h 658"/>
                  <a:gd name="T44" fmla="*/ 657 w 657"/>
                  <a:gd name="T45" fmla="*/ 312 h 658"/>
                  <a:gd name="T46" fmla="*/ 657 w 657"/>
                  <a:gd name="T47" fmla="*/ 347 h 658"/>
                  <a:gd name="T48" fmla="*/ 650 w 657"/>
                  <a:gd name="T49" fmla="*/ 395 h 658"/>
                  <a:gd name="T50" fmla="*/ 631 w 657"/>
                  <a:gd name="T51" fmla="*/ 457 h 658"/>
                  <a:gd name="T52" fmla="*/ 582 w 657"/>
                  <a:gd name="T53" fmla="*/ 539 h 658"/>
                  <a:gd name="T54" fmla="*/ 512 w 657"/>
                  <a:gd name="T55" fmla="*/ 602 h 658"/>
                  <a:gd name="T56" fmla="*/ 426 w 657"/>
                  <a:gd name="T57" fmla="*/ 644 h 658"/>
                  <a:gd name="T58" fmla="*/ 379 w 657"/>
                  <a:gd name="T59" fmla="*/ 654 h 658"/>
                  <a:gd name="T60" fmla="*/ 329 w 657"/>
                  <a:gd name="T61" fmla="*/ 658 h 658"/>
                  <a:gd name="T62" fmla="*/ 329 w 657"/>
                  <a:gd name="T63" fmla="*/ 38 h 658"/>
                  <a:gd name="T64" fmla="*/ 242 w 657"/>
                  <a:gd name="T65" fmla="*/ 51 h 658"/>
                  <a:gd name="T66" fmla="*/ 166 w 657"/>
                  <a:gd name="T67" fmla="*/ 88 h 658"/>
                  <a:gd name="T68" fmla="*/ 104 w 657"/>
                  <a:gd name="T69" fmla="*/ 144 h 658"/>
                  <a:gd name="T70" fmla="*/ 61 w 657"/>
                  <a:gd name="T71" fmla="*/ 216 h 658"/>
                  <a:gd name="T72" fmla="*/ 39 w 657"/>
                  <a:gd name="T73" fmla="*/ 300 h 658"/>
                  <a:gd name="T74" fmla="*/ 39 w 657"/>
                  <a:gd name="T75" fmla="*/ 359 h 658"/>
                  <a:gd name="T76" fmla="*/ 61 w 657"/>
                  <a:gd name="T77" fmla="*/ 442 h 658"/>
                  <a:gd name="T78" fmla="*/ 104 w 657"/>
                  <a:gd name="T79" fmla="*/ 515 h 658"/>
                  <a:gd name="T80" fmla="*/ 166 w 657"/>
                  <a:gd name="T81" fmla="*/ 571 h 658"/>
                  <a:gd name="T82" fmla="*/ 242 w 657"/>
                  <a:gd name="T83" fmla="*/ 607 h 658"/>
                  <a:gd name="T84" fmla="*/ 329 w 657"/>
                  <a:gd name="T85" fmla="*/ 621 h 658"/>
                  <a:gd name="T86" fmla="*/ 387 w 657"/>
                  <a:gd name="T87" fmla="*/ 614 h 658"/>
                  <a:gd name="T88" fmla="*/ 468 w 657"/>
                  <a:gd name="T89" fmla="*/ 586 h 658"/>
                  <a:gd name="T90" fmla="*/ 535 w 657"/>
                  <a:gd name="T91" fmla="*/ 535 h 658"/>
                  <a:gd name="T92" fmla="*/ 584 w 657"/>
                  <a:gd name="T93" fmla="*/ 468 h 658"/>
                  <a:gd name="T94" fmla="*/ 614 w 657"/>
                  <a:gd name="T95" fmla="*/ 388 h 658"/>
                  <a:gd name="T96" fmla="*/ 619 w 657"/>
                  <a:gd name="T97" fmla="*/ 329 h 658"/>
                  <a:gd name="T98" fmla="*/ 607 w 657"/>
                  <a:gd name="T99" fmla="*/ 243 h 658"/>
                  <a:gd name="T100" fmla="*/ 570 w 657"/>
                  <a:gd name="T101" fmla="*/ 167 h 658"/>
                  <a:gd name="T102" fmla="*/ 513 w 657"/>
                  <a:gd name="T103" fmla="*/ 105 h 658"/>
                  <a:gd name="T104" fmla="*/ 442 w 657"/>
                  <a:gd name="T105" fmla="*/ 61 h 658"/>
                  <a:gd name="T106" fmla="*/ 359 w 657"/>
                  <a:gd name="T107" fmla="*/ 39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57" h="658">
                    <a:moveTo>
                      <a:pt x="329" y="658"/>
                    </a:moveTo>
                    <a:lnTo>
                      <a:pt x="329" y="658"/>
                    </a:lnTo>
                    <a:lnTo>
                      <a:pt x="312" y="657"/>
                    </a:lnTo>
                    <a:lnTo>
                      <a:pt x="296" y="657"/>
                    </a:lnTo>
                    <a:lnTo>
                      <a:pt x="278" y="654"/>
                    </a:lnTo>
                    <a:lnTo>
                      <a:pt x="262" y="652"/>
                    </a:lnTo>
                    <a:lnTo>
                      <a:pt x="246" y="648"/>
                    </a:lnTo>
                    <a:lnTo>
                      <a:pt x="231" y="644"/>
                    </a:lnTo>
                    <a:lnTo>
                      <a:pt x="200" y="633"/>
                    </a:lnTo>
                    <a:lnTo>
                      <a:pt x="172" y="618"/>
                    </a:lnTo>
                    <a:lnTo>
                      <a:pt x="145" y="602"/>
                    </a:lnTo>
                    <a:lnTo>
                      <a:pt x="120" y="583"/>
                    </a:lnTo>
                    <a:lnTo>
                      <a:pt x="97" y="562"/>
                    </a:lnTo>
                    <a:lnTo>
                      <a:pt x="76" y="539"/>
                    </a:lnTo>
                    <a:lnTo>
                      <a:pt x="57" y="513"/>
                    </a:lnTo>
                    <a:lnTo>
                      <a:pt x="39" y="486"/>
                    </a:lnTo>
                    <a:lnTo>
                      <a:pt x="26" y="457"/>
                    </a:lnTo>
                    <a:lnTo>
                      <a:pt x="15" y="427"/>
                    </a:lnTo>
                    <a:lnTo>
                      <a:pt x="11" y="411"/>
                    </a:lnTo>
                    <a:lnTo>
                      <a:pt x="7" y="395"/>
                    </a:lnTo>
                    <a:lnTo>
                      <a:pt x="4" y="379"/>
                    </a:lnTo>
                    <a:lnTo>
                      <a:pt x="2" y="363"/>
                    </a:lnTo>
                    <a:lnTo>
                      <a:pt x="0" y="347"/>
                    </a:lnTo>
                    <a:lnTo>
                      <a:pt x="0" y="329"/>
                    </a:lnTo>
                    <a:lnTo>
                      <a:pt x="0" y="329"/>
                    </a:lnTo>
                    <a:lnTo>
                      <a:pt x="0" y="312"/>
                    </a:lnTo>
                    <a:lnTo>
                      <a:pt x="2" y="296"/>
                    </a:lnTo>
                    <a:lnTo>
                      <a:pt x="4" y="280"/>
                    </a:lnTo>
                    <a:lnTo>
                      <a:pt x="7" y="263"/>
                    </a:lnTo>
                    <a:lnTo>
                      <a:pt x="11" y="247"/>
                    </a:lnTo>
                    <a:lnTo>
                      <a:pt x="15" y="231"/>
                    </a:lnTo>
                    <a:lnTo>
                      <a:pt x="26" y="202"/>
                    </a:lnTo>
                    <a:lnTo>
                      <a:pt x="39" y="172"/>
                    </a:lnTo>
                    <a:lnTo>
                      <a:pt x="57" y="145"/>
                    </a:lnTo>
                    <a:lnTo>
                      <a:pt x="76" y="120"/>
                    </a:lnTo>
                    <a:lnTo>
                      <a:pt x="97" y="97"/>
                    </a:lnTo>
                    <a:lnTo>
                      <a:pt x="120" y="75"/>
                    </a:lnTo>
                    <a:lnTo>
                      <a:pt x="145" y="57"/>
                    </a:lnTo>
                    <a:lnTo>
                      <a:pt x="172" y="41"/>
                    </a:lnTo>
                    <a:lnTo>
                      <a:pt x="200" y="27"/>
                    </a:lnTo>
                    <a:lnTo>
                      <a:pt x="231" y="15"/>
                    </a:lnTo>
                    <a:lnTo>
                      <a:pt x="246" y="11"/>
                    </a:lnTo>
                    <a:lnTo>
                      <a:pt x="262" y="7"/>
                    </a:lnTo>
                    <a:lnTo>
                      <a:pt x="278" y="4"/>
                    </a:lnTo>
                    <a:lnTo>
                      <a:pt x="296" y="3"/>
                    </a:lnTo>
                    <a:lnTo>
                      <a:pt x="312" y="2"/>
                    </a:lnTo>
                    <a:lnTo>
                      <a:pt x="329" y="0"/>
                    </a:lnTo>
                    <a:lnTo>
                      <a:pt x="329" y="0"/>
                    </a:lnTo>
                    <a:lnTo>
                      <a:pt x="345" y="2"/>
                    </a:lnTo>
                    <a:lnTo>
                      <a:pt x="363" y="3"/>
                    </a:lnTo>
                    <a:lnTo>
                      <a:pt x="379" y="4"/>
                    </a:lnTo>
                    <a:lnTo>
                      <a:pt x="395" y="7"/>
                    </a:lnTo>
                    <a:lnTo>
                      <a:pt x="411" y="11"/>
                    </a:lnTo>
                    <a:lnTo>
                      <a:pt x="426" y="15"/>
                    </a:lnTo>
                    <a:lnTo>
                      <a:pt x="457" y="27"/>
                    </a:lnTo>
                    <a:lnTo>
                      <a:pt x="485" y="41"/>
                    </a:lnTo>
                    <a:lnTo>
                      <a:pt x="512" y="57"/>
                    </a:lnTo>
                    <a:lnTo>
                      <a:pt x="538" y="75"/>
                    </a:lnTo>
                    <a:lnTo>
                      <a:pt x="562" y="97"/>
                    </a:lnTo>
                    <a:lnTo>
                      <a:pt x="582" y="120"/>
                    </a:lnTo>
                    <a:lnTo>
                      <a:pt x="601" y="145"/>
                    </a:lnTo>
                    <a:lnTo>
                      <a:pt x="618" y="172"/>
                    </a:lnTo>
                    <a:lnTo>
                      <a:pt x="631" y="202"/>
                    </a:lnTo>
                    <a:lnTo>
                      <a:pt x="642" y="231"/>
                    </a:lnTo>
                    <a:lnTo>
                      <a:pt x="648" y="247"/>
                    </a:lnTo>
                    <a:lnTo>
                      <a:pt x="650" y="263"/>
                    </a:lnTo>
                    <a:lnTo>
                      <a:pt x="654" y="280"/>
                    </a:lnTo>
                    <a:lnTo>
                      <a:pt x="656" y="296"/>
                    </a:lnTo>
                    <a:lnTo>
                      <a:pt x="657" y="312"/>
                    </a:lnTo>
                    <a:lnTo>
                      <a:pt x="657" y="329"/>
                    </a:lnTo>
                    <a:lnTo>
                      <a:pt x="657" y="329"/>
                    </a:lnTo>
                    <a:lnTo>
                      <a:pt x="657" y="347"/>
                    </a:lnTo>
                    <a:lnTo>
                      <a:pt x="656" y="363"/>
                    </a:lnTo>
                    <a:lnTo>
                      <a:pt x="654" y="379"/>
                    </a:lnTo>
                    <a:lnTo>
                      <a:pt x="650" y="395"/>
                    </a:lnTo>
                    <a:lnTo>
                      <a:pt x="648" y="411"/>
                    </a:lnTo>
                    <a:lnTo>
                      <a:pt x="642" y="427"/>
                    </a:lnTo>
                    <a:lnTo>
                      <a:pt x="631" y="457"/>
                    </a:lnTo>
                    <a:lnTo>
                      <a:pt x="618" y="486"/>
                    </a:lnTo>
                    <a:lnTo>
                      <a:pt x="601" y="513"/>
                    </a:lnTo>
                    <a:lnTo>
                      <a:pt x="582" y="539"/>
                    </a:lnTo>
                    <a:lnTo>
                      <a:pt x="562" y="562"/>
                    </a:lnTo>
                    <a:lnTo>
                      <a:pt x="538" y="583"/>
                    </a:lnTo>
                    <a:lnTo>
                      <a:pt x="512" y="602"/>
                    </a:lnTo>
                    <a:lnTo>
                      <a:pt x="485" y="618"/>
                    </a:lnTo>
                    <a:lnTo>
                      <a:pt x="457" y="633"/>
                    </a:lnTo>
                    <a:lnTo>
                      <a:pt x="426" y="644"/>
                    </a:lnTo>
                    <a:lnTo>
                      <a:pt x="411" y="648"/>
                    </a:lnTo>
                    <a:lnTo>
                      <a:pt x="395" y="652"/>
                    </a:lnTo>
                    <a:lnTo>
                      <a:pt x="379" y="654"/>
                    </a:lnTo>
                    <a:lnTo>
                      <a:pt x="363" y="657"/>
                    </a:lnTo>
                    <a:lnTo>
                      <a:pt x="345" y="657"/>
                    </a:lnTo>
                    <a:lnTo>
                      <a:pt x="329" y="658"/>
                    </a:lnTo>
                    <a:lnTo>
                      <a:pt x="329" y="658"/>
                    </a:lnTo>
                    <a:close/>
                    <a:moveTo>
                      <a:pt x="329" y="38"/>
                    </a:moveTo>
                    <a:lnTo>
                      <a:pt x="329" y="38"/>
                    </a:lnTo>
                    <a:lnTo>
                      <a:pt x="299" y="39"/>
                    </a:lnTo>
                    <a:lnTo>
                      <a:pt x="270" y="45"/>
                    </a:lnTo>
                    <a:lnTo>
                      <a:pt x="242" y="51"/>
                    </a:lnTo>
                    <a:lnTo>
                      <a:pt x="215" y="61"/>
                    </a:lnTo>
                    <a:lnTo>
                      <a:pt x="190" y="73"/>
                    </a:lnTo>
                    <a:lnTo>
                      <a:pt x="166" y="88"/>
                    </a:lnTo>
                    <a:lnTo>
                      <a:pt x="144" y="105"/>
                    </a:lnTo>
                    <a:lnTo>
                      <a:pt x="123" y="124"/>
                    </a:lnTo>
                    <a:lnTo>
                      <a:pt x="104" y="144"/>
                    </a:lnTo>
                    <a:lnTo>
                      <a:pt x="88" y="167"/>
                    </a:lnTo>
                    <a:lnTo>
                      <a:pt x="73" y="191"/>
                    </a:lnTo>
                    <a:lnTo>
                      <a:pt x="61" y="216"/>
                    </a:lnTo>
                    <a:lnTo>
                      <a:pt x="51" y="243"/>
                    </a:lnTo>
                    <a:lnTo>
                      <a:pt x="43" y="270"/>
                    </a:lnTo>
                    <a:lnTo>
                      <a:pt x="39" y="300"/>
                    </a:lnTo>
                    <a:lnTo>
                      <a:pt x="38" y="329"/>
                    </a:lnTo>
                    <a:lnTo>
                      <a:pt x="38" y="329"/>
                    </a:lnTo>
                    <a:lnTo>
                      <a:pt x="39" y="359"/>
                    </a:lnTo>
                    <a:lnTo>
                      <a:pt x="43" y="388"/>
                    </a:lnTo>
                    <a:lnTo>
                      <a:pt x="51" y="415"/>
                    </a:lnTo>
                    <a:lnTo>
                      <a:pt x="61" y="442"/>
                    </a:lnTo>
                    <a:lnTo>
                      <a:pt x="73" y="468"/>
                    </a:lnTo>
                    <a:lnTo>
                      <a:pt x="88" y="492"/>
                    </a:lnTo>
                    <a:lnTo>
                      <a:pt x="104" y="515"/>
                    </a:lnTo>
                    <a:lnTo>
                      <a:pt x="123" y="535"/>
                    </a:lnTo>
                    <a:lnTo>
                      <a:pt x="144" y="554"/>
                    </a:lnTo>
                    <a:lnTo>
                      <a:pt x="166" y="571"/>
                    </a:lnTo>
                    <a:lnTo>
                      <a:pt x="190" y="586"/>
                    </a:lnTo>
                    <a:lnTo>
                      <a:pt x="215" y="598"/>
                    </a:lnTo>
                    <a:lnTo>
                      <a:pt x="242" y="607"/>
                    </a:lnTo>
                    <a:lnTo>
                      <a:pt x="270" y="614"/>
                    </a:lnTo>
                    <a:lnTo>
                      <a:pt x="299" y="619"/>
                    </a:lnTo>
                    <a:lnTo>
                      <a:pt x="329" y="621"/>
                    </a:lnTo>
                    <a:lnTo>
                      <a:pt x="329" y="621"/>
                    </a:lnTo>
                    <a:lnTo>
                      <a:pt x="359" y="619"/>
                    </a:lnTo>
                    <a:lnTo>
                      <a:pt x="387" y="614"/>
                    </a:lnTo>
                    <a:lnTo>
                      <a:pt x="415" y="607"/>
                    </a:lnTo>
                    <a:lnTo>
                      <a:pt x="442" y="598"/>
                    </a:lnTo>
                    <a:lnTo>
                      <a:pt x="468" y="586"/>
                    </a:lnTo>
                    <a:lnTo>
                      <a:pt x="492" y="571"/>
                    </a:lnTo>
                    <a:lnTo>
                      <a:pt x="513" y="554"/>
                    </a:lnTo>
                    <a:lnTo>
                      <a:pt x="535" y="535"/>
                    </a:lnTo>
                    <a:lnTo>
                      <a:pt x="554" y="515"/>
                    </a:lnTo>
                    <a:lnTo>
                      <a:pt x="570" y="492"/>
                    </a:lnTo>
                    <a:lnTo>
                      <a:pt x="584" y="468"/>
                    </a:lnTo>
                    <a:lnTo>
                      <a:pt x="597" y="442"/>
                    </a:lnTo>
                    <a:lnTo>
                      <a:pt x="607" y="415"/>
                    </a:lnTo>
                    <a:lnTo>
                      <a:pt x="614" y="388"/>
                    </a:lnTo>
                    <a:lnTo>
                      <a:pt x="618" y="359"/>
                    </a:lnTo>
                    <a:lnTo>
                      <a:pt x="619" y="329"/>
                    </a:lnTo>
                    <a:lnTo>
                      <a:pt x="619" y="329"/>
                    </a:lnTo>
                    <a:lnTo>
                      <a:pt x="618" y="300"/>
                    </a:lnTo>
                    <a:lnTo>
                      <a:pt x="614" y="270"/>
                    </a:lnTo>
                    <a:lnTo>
                      <a:pt x="607" y="243"/>
                    </a:lnTo>
                    <a:lnTo>
                      <a:pt x="597" y="216"/>
                    </a:lnTo>
                    <a:lnTo>
                      <a:pt x="584" y="191"/>
                    </a:lnTo>
                    <a:lnTo>
                      <a:pt x="570" y="167"/>
                    </a:lnTo>
                    <a:lnTo>
                      <a:pt x="554" y="144"/>
                    </a:lnTo>
                    <a:lnTo>
                      <a:pt x="535" y="124"/>
                    </a:lnTo>
                    <a:lnTo>
                      <a:pt x="513" y="105"/>
                    </a:lnTo>
                    <a:lnTo>
                      <a:pt x="492" y="88"/>
                    </a:lnTo>
                    <a:lnTo>
                      <a:pt x="468" y="73"/>
                    </a:lnTo>
                    <a:lnTo>
                      <a:pt x="442" y="61"/>
                    </a:lnTo>
                    <a:lnTo>
                      <a:pt x="415" y="51"/>
                    </a:lnTo>
                    <a:lnTo>
                      <a:pt x="387" y="45"/>
                    </a:lnTo>
                    <a:lnTo>
                      <a:pt x="359" y="39"/>
                    </a:lnTo>
                    <a:lnTo>
                      <a:pt x="329" y="38"/>
                    </a:lnTo>
                    <a:lnTo>
                      <a:pt x="329" y="3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  <p:pic>
          <p:nvPicPr>
            <p:cNvPr id="64" name="Graphic 63" descr="Classroom with solid fill">
              <a:extLst>
                <a:ext uri="{FF2B5EF4-FFF2-40B4-BE49-F238E27FC236}">
                  <a16:creationId xmlns:a16="http://schemas.microsoft.com/office/drawing/2014/main" id="{3D359D68-08A2-492C-86C2-93C1BAD85C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8666707" y="1409345"/>
              <a:ext cx="548640" cy="5486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736471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FFEF450-C040-4C8D-8820-088F457B510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85800" y="914400"/>
            <a:ext cx="9296400" cy="225742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eparing for Closeout</a:t>
            </a:r>
          </a:p>
        </p:txBody>
      </p:sp>
    </p:spTree>
    <p:extLst>
      <p:ext uri="{BB962C8B-B14F-4D97-AF65-F5344CB8AC3E}">
        <p14:creationId xmlns:p14="http://schemas.microsoft.com/office/powerpoint/2010/main" val="635128940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7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eparing for Closeout</a:t>
            </a:r>
            <a:endPara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 wrap="square" lIns="0" tIns="0" rIns="0" bIns="0" anchor="t">
            <a:noAutofit/>
          </a:bodyPr>
          <a:lstStyle/>
          <a:p>
            <a:r>
              <a:rPr lang="en-US" dirty="0">
                <a:latin typeface="Open Sans"/>
                <a:ea typeface="Open Sans"/>
                <a:cs typeface="Open Sans"/>
              </a:rPr>
              <a:t>During the closeout procedure, prepare to conduct final checks of financial and administrative activities to maintain compliance</a:t>
            </a:r>
            <a:endParaRPr lang="en-US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Oval 15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2700000">
            <a:off x="5717358" y="2133119"/>
            <a:ext cx="994611" cy="1860768"/>
          </a:xfrm>
          <a:custGeom>
            <a:avLst/>
            <a:gdLst/>
            <a:ahLst/>
            <a:cxnLst/>
            <a:rect l="l" t="t" r="r" b="b"/>
            <a:pathLst>
              <a:path w="1224136" h="2290176">
                <a:moveTo>
                  <a:pt x="459315" y="63272"/>
                </a:moveTo>
                <a:cubicBezTo>
                  <a:pt x="498408" y="24179"/>
                  <a:pt x="552413" y="0"/>
                  <a:pt x="612067" y="0"/>
                </a:cubicBezTo>
                <a:cubicBezTo>
                  <a:pt x="731374" y="0"/>
                  <a:pt x="828091" y="96717"/>
                  <a:pt x="828091" y="216024"/>
                </a:cubicBezTo>
                <a:cubicBezTo>
                  <a:pt x="828091" y="299408"/>
                  <a:pt x="780848" y="371757"/>
                  <a:pt x="711216" y="406896"/>
                </a:cubicBezTo>
                <a:cubicBezTo>
                  <a:pt x="691916" y="450663"/>
                  <a:pt x="710516" y="496019"/>
                  <a:pt x="737802" y="533019"/>
                </a:cubicBezTo>
                <a:lnTo>
                  <a:pt x="1224136" y="533019"/>
                </a:lnTo>
                <a:lnTo>
                  <a:pt x="1224136" y="1019520"/>
                </a:lnTo>
                <a:cubicBezTo>
                  <a:pt x="1187224" y="1046736"/>
                  <a:pt x="1141992" y="1065189"/>
                  <a:pt x="1098339" y="1045939"/>
                </a:cubicBezTo>
                <a:cubicBezTo>
                  <a:pt x="1063200" y="976307"/>
                  <a:pt x="990851" y="929064"/>
                  <a:pt x="907467" y="929064"/>
                </a:cubicBezTo>
                <a:cubicBezTo>
                  <a:pt x="788160" y="929064"/>
                  <a:pt x="691443" y="1025781"/>
                  <a:pt x="691443" y="1145088"/>
                </a:cubicBezTo>
                <a:cubicBezTo>
                  <a:pt x="691443" y="1204742"/>
                  <a:pt x="715622" y="1258747"/>
                  <a:pt x="754715" y="1297840"/>
                </a:cubicBezTo>
                <a:cubicBezTo>
                  <a:pt x="793807" y="1336933"/>
                  <a:pt x="847813" y="1361112"/>
                  <a:pt x="907467" y="1361112"/>
                </a:cubicBezTo>
                <a:cubicBezTo>
                  <a:pt x="988927" y="1361112"/>
                  <a:pt x="1059856" y="1316024"/>
                  <a:pt x="1095778" y="1248955"/>
                </a:cubicBezTo>
                <a:cubicBezTo>
                  <a:pt x="1141514" y="1226580"/>
                  <a:pt x="1182162" y="1242465"/>
                  <a:pt x="1224136" y="1270694"/>
                </a:cubicBezTo>
                <a:lnTo>
                  <a:pt x="1224136" y="1757155"/>
                </a:lnTo>
                <a:lnTo>
                  <a:pt x="737829" y="1757155"/>
                </a:lnTo>
                <a:cubicBezTo>
                  <a:pt x="709519" y="1799263"/>
                  <a:pt x="693505" y="1839996"/>
                  <a:pt x="715934" y="1885841"/>
                </a:cubicBezTo>
                <a:cubicBezTo>
                  <a:pt x="783003" y="1921763"/>
                  <a:pt x="828091" y="1992692"/>
                  <a:pt x="828091" y="2074152"/>
                </a:cubicBezTo>
                <a:cubicBezTo>
                  <a:pt x="828091" y="2133806"/>
                  <a:pt x="803912" y="2187812"/>
                  <a:pt x="764819" y="2226904"/>
                </a:cubicBezTo>
                <a:cubicBezTo>
                  <a:pt x="725726" y="2265997"/>
                  <a:pt x="671721" y="2290176"/>
                  <a:pt x="612067" y="2290176"/>
                </a:cubicBezTo>
                <a:cubicBezTo>
                  <a:pt x="492760" y="2290176"/>
                  <a:pt x="396043" y="2193459"/>
                  <a:pt x="396043" y="2074152"/>
                </a:cubicBezTo>
                <a:cubicBezTo>
                  <a:pt x="396043" y="1990768"/>
                  <a:pt x="443286" y="1918419"/>
                  <a:pt x="512918" y="1883280"/>
                </a:cubicBezTo>
                <a:cubicBezTo>
                  <a:pt x="532218" y="1839512"/>
                  <a:pt x="513617" y="1794156"/>
                  <a:pt x="486331" y="1757155"/>
                </a:cubicBezTo>
                <a:lnTo>
                  <a:pt x="0" y="1757155"/>
                </a:lnTo>
                <a:lnTo>
                  <a:pt x="0" y="1267857"/>
                </a:lnTo>
                <a:cubicBezTo>
                  <a:pt x="35436" y="1241878"/>
                  <a:pt x="78596" y="1225841"/>
                  <a:pt x="120314" y="1244237"/>
                </a:cubicBezTo>
                <a:cubicBezTo>
                  <a:pt x="155453" y="1313869"/>
                  <a:pt x="227802" y="1361112"/>
                  <a:pt x="311186" y="1361112"/>
                </a:cubicBezTo>
                <a:cubicBezTo>
                  <a:pt x="430493" y="1361112"/>
                  <a:pt x="527210" y="1264395"/>
                  <a:pt x="527210" y="1145088"/>
                </a:cubicBezTo>
                <a:cubicBezTo>
                  <a:pt x="527210" y="1085434"/>
                  <a:pt x="503031" y="1031429"/>
                  <a:pt x="463938" y="992336"/>
                </a:cubicBezTo>
                <a:cubicBezTo>
                  <a:pt x="424846" y="953243"/>
                  <a:pt x="370840" y="929064"/>
                  <a:pt x="311186" y="929064"/>
                </a:cubicBezTo>
                <a:cubicBezTo>
                  <a:pt x="229726" y="929064"/>
                  <a:pt x="158797" y="974152"/>
                  <a:pt x="122875" y="1041221"/>
                </a:cubicBezTo>
                <a:cubicBezTo>
                  <a:pt x="78969" y="1062702"/>
                  <a:pt x="39751" y="1048921"/>
                  <a:pt x="0" y="1022105"/>
                </a:cubicBezTo>
                <a:lnTo>
                  <a:pt x="0" y="533019"/>
                </a:lnTo>
                <a:lnTo>
                  <a:pt x="486305" y="533019"/>
                </a:lnTo>
                <a:cubicBezTo>
                  <a:pt x="514616" y="490912"/>
                  <a:pt x="530628" y="450179"/>
                  <a:pt x="508200" y="404335"/>
                </a:cubicBezTo>
                <a:cubicBezTo>
                  <a:pt x="441131" y="368413"/>
                  <a:pt x="396043" y="297484"/>
                  <a:pt x="396043" y="216024"/>
                </a:cubicBezTo>
                <a:cubicBezTo>
                  <a:pt x="396043" y="156370"/>
                  <a:pt x="420222" y="102364"/>
                  <a:pt x="459315" y="63272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rtlCol="0" anchor="ctr">
            <a:noAutofit/>
          </a:bodyPr>
          <a:lstStyle/>
          <a:p>
            <a:pPr algn="ctr"/>
            <a:endParaRPr lang="en-US" sz="1000">
              <a:solidFill>
                <a:schemeClr val="tx2"/>
              </a:solidFill>
            </a:endParaRPr>
          </a:p>
        </p:txBody>
      </p:sp>
      <p:sp>
        <p:nvSpPr>
          <p:cNvPr id="35" name="Oval 15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8900000">
            <a:off x="6420842" y="2836601"/>
            <a:ext cx="994611" cy="1860768"/>
          </a:xfrm>
          <a:custGeom>
            <a:avLst/>
            <a:gdLst/>
            <a:ahLst/>
            <a:cxnLst/>
            <a:rect l="l" t="t" r="r" b="b"/>
            <a:pathLst>
              <a:path w="1224136" h="2290176">
                <a:moveTo>
                  <a:pt x="764820" y="63272"/>
                </a:moveTo>
                <a:cubicBezTo>
                  <a:pt x="803913" y="102365"/>
                  <a:pt x="828092" y="156370"/>
                  <a:pt x="828092" y="216024"/>
                </a:cubicBezTo>
                <a:cubicBezTo>
                  <a:pt x="828092" y="299408"/>
                  <a:pt x="780849" y="371757"/>
                  <a:pt x="711217" y="406896"/>
                </a:cubicBezTo>
                <a:cubicBezTo>
                  <a:pt x="691917" y="450664"/>
                  <a:pt x="710518" y="496020"/>
                  <a:pt x="737803" y="533020"/>
                </a:cubicBezTo>
                <a:lnTo>
                  <a:pt x="1224136" y="533020"/>
                </a:lnTo>
                <a:lnTo>
                  <a:pt x="1224136" y="1022318"/>
                </a:lnTo>
                <a:cubicBezTo>
                  <a:pt x="1188700" y="1048297"/>
                  <a:pt x="1145539" y="1064335"/>
                  <a:pt x="1103821" y="1045938"/>
                </a:cubicBezTo>
                <a:cubicBezTo>
                  <a:pt x="1068682" y="976306"/>
                  <a:pt x="996333" y="929063"/>
                  <a:pt x="912949" y="929063"/>
                </a:cubicBezTo>
                <a:cubicBezTo>
                  <a:pt x="793642" y="929063"/>
                  <a:pt x="696925" y="1025780"/>
                  <a:pt x="696925" y="1145087"/>
                </a:cubicBezTo>
                <a:cubicBezTo>
                  <a:pt x="696925" y="1204741"/>
                  <a:pt x="721104" y="1258746"/>
                  <a:pt x="760197" y="1297839"/>
                </a:cubicBezTo>
                <a:cubicBezTo>
                  <a:pt x="799289" y="1336932"/>
                  <a:pt x="853295" y="1361111"/>
                  <a:pt x="912949" y="1361111"/>
                </a:cubicBezTo>
                <a:cubicBezTo>
                  <a:pt x="994409" y="1361111"/>
                  <a:pt x="1065338" y="1316024"/>
                  <a:pt x="1101260" y="1248954"/>
                </a:cubicBezTo>
                <a:cubicBezTo>
                  <a:pt x="1145167" y="1227474"/>
                  <a:pt x="1184385" y="1241254"/>
                  <a:pt x="1224136" y="1268071"/>
                </a:cubicBezTo>
                <a:lnTo>
                  <a:pt x="1224136" y="1757156"/>
                </a:lnTo>
                <a:lnTo>
                  <a:pt x="737830" y="1757156"/>
                </a:lnTo>
                <a:cubicBezTo>
                  <a:pt x="709520" y="1799264"/>
                  <a:pt x="693507" y="1839997"/>
                  <a:pt x="715935" y="1885841"/>
                </a:cubicBezTo>
                <a:cubicBezTo>
                  <a:pt x="783004" y="1921763"/>
                  <a:pt x="828092" y="1992692"/>
                  <a:pt x="828092" y="2074152"/>
                </a:cubicBezTo>
                <a:cubicBezTo>
                  <a:pt x="828092" y="2133806"/>
                  <a:pt x="803913" y="2187812"/>
                  <a:pt x="764820" y="2226904"/>
                </a:cubicBezTo>
                <a:cubicBezTo>
                  <a:pt x="725727" y="2265997"/>
                  <a:pt x="671722" y="2290176"/>
                  <a:pt x="612068" y="2290176"/>
                </a:cubicBezTo>
                <a:cubicBezTo>
                  <a:pt x="492761" y="2290176"/>
                  <a:pt x="396044" y="2193459"/>
                  <a:pt x="396044" y="2074152"/>
                </a:cubicBezTo>
                <a:cubicBezTo>
                  <a:pt x="396044" y="1990768"/>
                  <a:pt x="443287" y="1918419"/>
                  <a:pt x="512919" y="1883280"/>
                </a:cubicBezTo>
                <a:cubicBezTo>
                  <a:pt x="532219" y="1839512"/>
                  <a:pt x="513618" y="1794157"/>
                  <a:pt x="486333" y="1757156"/>
                </a:cubicBezTo>
                <a:lnTo>
                  <a:pt x="0" y="1757156"/>
                </a:lnTo>
                <a:lnTo>
                  <a:pt x="0" y="1271295"/>
                </a:lnTo>
                <a:cubicBezTo>
                  <a:pt x="37251" y="1243817"/>
                  <a:pt x="82955" y="1224793"/>
                  <a:pt x="127049" y="1244237"/>
                </a:cubicBezTo>
                <a:cubicBezTo>
                  <a:pt x="162188" y="1313869"/>
                  <a:pt x="234537" y="1361112"/>
                  <a:pt x="317921" y="1361112"/>
                </a:cubicBezTo>
                <a:cubicBezTo>
                  <a:pt x="437228" y="1361112"/>
                  <a:pt x="533945" y="1264395"/>
                  <a:pt x="533945" y="1145088"/>
                </a:cubicBezTo>
                <a:cubicBezTo>
                  <a:pt x="533945" y="1085434"/>
                  <a:pt x="509766" y="1031429"/>
                  <a:pt x="470673" y="992336"/>
                </a:cubicBezTo>
                <a:cubicBezTo>
                  <a:pt x="431581" y="953243"/>
                  <a:pt x="377575" y="929064"/>
                  <a:pt x="317921" y="929064"/>
                </a:cubicBezTo>
                <a:cubicBezTo>
                  <a:pt x="236461" y="929064"/>
                  <a:pt x="165532" y="974152"/>
                  <a:pt x="129610" y="1041221"/>
                </a:cubicBezTo>
                <a:cubicBezTo>
                  <a:pt x="83460" y="1063799"/>
                  <a:pt x="42490" y="1047421"/>
                  <a:pt x="0" y="1018884"/>
                </a:cubicBezTo>
                <a:lnTo>
                  <a:pt x="0" y="533020"/>
                </a:lnTo>
                <a:lnTo>
                  <a:pt x="486306" y="533020"/>
                </a:lnTo>
                <a:cubicBezTo>
                  <a:pt x="514616" y="490912"/>
                  <a:pt x="530629" y="450179"/>
                  <a:pt x="508201" y="404335"/>
                </a:cubicBezTo>
                <a:cubicBezTo>
                  <a:pt x="441132" y="368413"/>
                  <a:pt x="396044" y="297484"/>
                  <a:pt x="396044" y="216024"/>
                </a:cubicBezTo>
                <a:cubicBezTo>
                  <a:pt x="396044" y="156370"/>
                  <a:pt x="420223" y="102364"/>
                  <a:pt x="459316" y="63272"/>
                </a:cubicBezTo>
                <a:cubicBezTo>
                  <a:pt x="498409" y="24179"/>
                  <a:pt x="552414" y="0"/>
                  <a:pt x="612068" y="0"/>
                </a:cubicBezTo>
                <a:cubicBezTo>
                  <a:pt x="671722" y="0"/>
                  <a:pt x="725728" y="24180"/>
                  <a:pt x="764820" y="63272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rtlCol="0" anchor="ctr">
            <a:noAutofit/>
          </a:bodyPr>
          <a:lstStyle/>
          <a:p>
            <a:pPr algn="ctr"/>
            <a:endParaRPr lang="en-US" sz="1000" err="1">
              <a:solidFill>
                <a:schemeClr val="tx2"/>
              </a:solidFill>
            </a:endParaRPr>
          </a:p>
        </p:txBody>
      </p:sp>
      <p:sp>
        <p:nvSpPr>
          <p:cNvPr id="36" name="Oval 15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8900000">
            <a:off x="5013856" y="2836624"/>
            <a:ext cx="994611" cy="1860769"/>
          </a:xfrm>
          <a:custGeom>
            <a:avLst/>
            <a:gdLst/>
            <a:ahLst/>
            <a:cxnLst/>
            <a:rect l="l" t="t" r="r" b="b"/>
            <a:pathLst>
              <a:path w="1224136" h="2290177">
                <a:moveTo>
                  <a:pt x="764821" y="63272"/>
                </a:moveTo>
                <a:cubicBezTo>
                  <a:pt x="803914" y="102365"/>
                  <a:pt x="828093" y="156370"/>
                  <a:pt x="828093" y="216024"/>
                </a:cubicBezTo>
                <a:cubicBezTo>
                  <a:pt x="828093" y="299408"/>
                  <a:pt x="780850" y="371757"/>
                  <a:pt x="711218" y="406896"/>
                </a:cubicBezTo>
                <a:cubicBezTo>
                  <a:pt x="691918" y="450664"/>
                  <a:pt x="710519" y="496020"/>
                  <a:pt x="737804" y="533020"/>
                </a:cubicBezTo>
                <a:lnTo>
                  <a:pt x="1224136" y="533020"/>
                </a:lnTo>
                <a:lnTo>
                  <a:pt x="1224136" y="1019537"/>
                </a:lnTo>
                <a:cubicBezTo>
                  <a:pt x="1187233" y="1046745"/>
                  <a:pt x="1142014" y="1065183"/>
                  <a:pt x="1098373" y="1045938"/>
                </a:cubicBezTo>
                <a:cubicBezTo>
                  <a:pt x="1063233" y="976306"/>
                  <a:pt x="990884" y="929063"/>
                  <a:pt x="907500" y="929063"/>
                </a:cubicBezTo>
                <a:cubicBezTo>
                  <a:pt x="788193" y="929063"/>
                  <a:pt x="691476" y="1025780"/>
                  <a:pt x="691476" y="1145087"/>
                </a:cubicBezTo>
                <a:cubicBezTo>
                  <a:pt x="691476" y="1204741"/>
                  <a:pt x="715655" y="1258747"/>
                  <a:pt x="754748" y="1297839"/>
                </a:cubicBezTo>
                <a:cubicBezTo>
                  <a:pt x="793841" y="1336932"/>
                  <a:pt x="847846" y="1361111"/>
                  <a:pt x="907500" y="1361111"/>
                </a:cubicBezTo>
                <a:cubicBezTo>
                  <a:pt x="988961" y="1361111"/>
                  <a:pt x="1059890" y="1316024"/>
                  <a:pt x="1095811" y="1248954"/>
                </a:cubicBezTo>
                <a:cubicBezTo>
                  <a:pt x="1141537" y="1226584"/>
                  <a:pt x="1182177" y="1242456"/>
                  <a:pt x="1224136" y="1270677"/>
                </a:cubicBezTo>
                <a:lnTo>
                  <a:pt x="1224136" y="1757156"/>
                </a:lnTo>
                <a:lnTo>
                  <a:pt x="737831" y="1757156"/>
                </a:lnTo>
                <a:cubicBezTo>
                  <a:pt x="709521" y="1799265"/>
                  <a:pt x="693508" y="1839998"/>
                  <a:pt x="715937" y="1885842"/>
                </a:cubicBezTo>
                <a:cubicBezTo>
                  <a:pt x="783005" y="1921764"/>
                  <a:pt x="828094" y="1992693"/>
                  <a:pt x="828094" y="2074153"/>
                </a:cubicBezTo>
                <a:cubicBezTo>
                  <a:pt x="828093" y="2133807"/>
                  <a:pt x="803915" y="2187813"/>
                  <a:pt x="764821" y="2226905"/>
                </a:cubicBezTo>
                <a:cubicBezTo>
                  <a:pt x="725728" y="2265998"/>
                  <a:pt x="671723" y="2290177"/>
                  <a:pt x="612070" y="2290177"/>
                </a:cubicBezTo>
                <a:cubicBezTo>
                  <a:pt x="492762" y="2290177"/>
                  <a:pt x="396045" y="2193460"/>
                  <a:pt x="396045" y="2074153"/>
                </a:cubicBezTo>
                <a:cubicBezTo>
                  <a:pt x="396045" y="1990769"/>
                  <a:pt x="443288" y="1918420"/>
                  <a:pt x="512921" y="1883281"/>
                </a:cubicBezTo>
                <a:cubicBezTo>
                  <a:pt x="532220" y="1839513"/>
                  <a:pt x="513619" y="1794157"/>
                  <a:pt x="486333" y="1757155"/>
                </a:cubicBezTo>
                <a:lnTo>
                  <a:pt x="1" y="1757156"/>
                </a:lnTo>
                <a:lnTo>
                  <a:pt x="1" y="1271298"/>
                </a:lnTo>
                <a:cubicBezTo>
                  <a:pt x="37251" y="1243817"/>
                  <a:pt x="82956" y="1224794"/>
                  <a:pt x="127049" y="1244238"/>
                </a:cubicBezTo>
                <a:cubicBezTo>
                  <a:pt x="162189" y="1313869"/>
                  <a:pt x="234538" y="1361113"/>
                  <a:pt x="317921" y="1361113"/>
                </a:cubicBezTo>
                <a:cubicBezTo>
                  <a:pt x="437228" y="1361113"/>
                  <a:pt x="533945" y="1264396"/>
                  <a:pt x="533945" y="1145089"/>
                </a:cubicBezTo>
                <a:cubicBezTo>
                  <a:pt x="533945" y="1085435"/>
                  <a:pt x="509766" y="1031429"/>
                  <a:pt x="470673" y="992337"/>
                </a:cubicBezTo>
                <a:cubicBezTo>
                  <a:pt x="431581" y="953244"/>
                  <a:pt x="377575" y="929065"/>
                  <a:pt x="317921" y="929065"/>
                </a:cubicBezTo>
                <a:cubicBezTo>
                  <a:pt x="236461" y="929065"/>
                  <a:pt x="165532" y="974153"/>
                  <a:pt x="129610" y="1041222"/>
                </a:cubicBezTo>
                <a:cubicBezTo>
                  <a:pt x="83461" y="1063799"/>
                  <a:pt x="42491" y="1047422"/>
                  <a:pt x="0" y="1018884"/>
                </a:cubicBezTo>
                <a:lnTo>
                  <a:pt x="0" y="533020"/>
                </a:lnTo>
                <a:lnTo>
                  <a:pt x="486307" y="533020"/>
                </a:lnTo>
                <a:cubicBezTo>
                  <a:pt x="514617" y="490912"/>
                  <a:pt x="530630" y="450179"/>
                  <a:pt x="508202" y="404335"/>
                </a:cubicBezTo>
                <a:cubicBezTo>
                  <a:pt x="441133" y="368413"/>
                  <a:pt x="396045" y="297484"/>
                  <a:pt x="396045" y="216024"/>
                </a:cubicBezTo>
                <a:cubicBezTo>
                  <a:pt x="396045" y="156370"/>
                  <a:pt x="420224" y="102364"/>
                  <a:pt x="459317" y="63272"/>
                </a:cubicBezTo>
                <a:cubicBezTo>
                  <a:pt x="498410" y="24179"/>
                  <a:pt x="552415" y="0"/>
                  <a:pt x="612069" y="0"/>
                </a:cubicBezTo>
                <a:cubicBezTo>
                  <a:pt x="671723" y="0"/>
                  <a:pt x="725728" y="24179"/>
                  <a:pt x="764821" y="63272"/>
                </a:cubicBezTo>
                <a:close/>
              </a:path>
            </a:pathLst>
          </a:custGeom>
          <a:solidFill>
            <a:srgbClr val="4F81BD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rtlCol="0" anchor="ctr">
            <a:noAutofit/>
          </a:bodyPr>
          <a:lstStyle/>
          <a:p>
            <a:pPr algn="ctr"/>
            <a:endParaRPr lang="en-US" sz="1000" err="1">
              <a:solidFill>
                <a:schemeClr val="tx2"/>
              </a:solidFill>
            </a:endParaRPr>
          </a:p>
        </p:txBody>
      </p:sp>
      <p:sp>
        <p:nvSpPr>
          <p:cNvPr id="37" name="Rectangle 14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2700000">
            <a:off x="5717338" y="3540105"/>
            <a:ext cx="994611" cy="1860768"/>
          </a:xfrm>
          <a:custGeom>
            <a:avLst/>
            <a:gdLst/>
            <a:ahLst/>
            <a:cxnLst/>
            <a:rect l="l" t="t" r="r" b="b"/>
            <a:pathLst>
              <a:path w="1224136" h="2290176">
                <a:moveTo>
                  <a:pt x="459315" y="63272"/>
                </a:moveTo>
                <a:cubicBezTo>
                  <a:pt x="498408" y="24178"/>
                  <a:pt x="552413" y="-1"/>
                  <a:pt x="612067" y="0"/>
                </a:cubicBezTo>
                <a:cubicBezTo>
                  <a:pt x="731374" y="-1"/>
                  <a:pt x="828091" y="96717"/>
                  <a:pt x="828091" y="216024"/>
                </a:cubicBezTo>
                <a:cubicBezTo>
                  <a:pt x="828091" y="299408"/>
                  <a:pt x="780848" y="371756"/>
                  <a:pt x="711216" y="406896"/>
                </a:cubicBezTo>
                <a:cubicBezTo>
                  <a:pt x="691916" y="450663"/>
                  <a:pt x="710517" y="496019"/>
                  <a:pt x="737802" y="533019"/>
                </a:cubicBezTo>
                <a:lnTo>
                  <a:pt x="1224136" y="533019"/>
                </a:lnTo>
                <a:lnTo>
                  <a:pt x="1224136" y="1022319"/>
                </a:lnTo>
                <a:cubicBezTo>
                  <a:pt x="1188699" y="1048297"/>
                  <a:pt x="1145539" y="1064335"/>
                  <a:pt x="1103821" y="1045939"/>
                </a:cubicBezTo>
                <a:cubicBezTo>
                  <a:pt x="1068681" y="976307"/>
                  <a:pt x="996332" y="929064"/>
                  <a:pt x="912948" y="929064"/>
                </a:cubicBezTo>
                <a:cubicBezTo>
                  <a:pt x="793641" y="929064"/>
                  <a:pt x="696924" y="1025781"/>
                  <a:pt x="696924" y="1145088"/>
                </a:cubicBezTo>
                <a:cubicBezTo>
                  <a:pt x="696924" y="1204742"/>
                  <a:pt x="721103" y="1258747"/>
                  <a:pt x="760196" y="1297840"/>
                </a:cubicBezTo>
                <a:cubicBezTo>
                  <a:pt x="799288" y="1336933"/>
                  <a:pt x="853295" y="1361112"/>
                  <a:pt x="912948" y="1361112"/>
                </a:cubicBezTo>
                <a:cubicBezTo>
                  <a:pt x="994408" y="1361112"/>
                  <a:pt x="1065338" y="1316024"/>
                  <a:pt x="1101259" y="1248955"/>
                </a:cubicBezTo>
                <a:cubicBezTo>
                  <a:pt x="1145166" y="1227475"/>
                  <a:pt x="1184384" y="1241255"/>
                  <a:pt x="1224136" y="1268072"/>
                </a:cubicBezTo>
                <a:lnTo>
                  <a:pt x="1224136" y="1757155"/>
                </a:lnTo>
                <a:lnTo>
                  <a:pt x="737830" y="1757155"/>
                </a:lnTo>
                <a:cubicBezTo>
                  <a:pt x="709519" y="1799263"/>
                  <a:pt x="693506" y="1839996"/>
                  <a:pt x="715934" y="1885841"/>
                </a:cubicBezTo>
                <a:cubicBezTo>
                  <a:pt x="783003" y="1921763"/>
                  <a:pt x="828091" y="1992692"/>
                  <a:pt x="828091" y="2074152"/>
                </a:cubicBezTo>
                <a:cubicBezTo>
                  <a:pt x="828091" y="2133806"/>
                  <a:pt x="803912" y="2187812"/>
                  <a:pt x="764819" y="2226904"/>
                </a:cubicBezTo>
                <a:cubicBezTo>
                  <a:pt x="725726" y="2265997"/>
                  <a:pt x="671721" y="2290176"/>
                  <a:pt x="612067" y="2290176"/>
                </a:cubicBezTo>
                <a:cubicBezTo>
                  <a:pt x="492760" y="2290176"/>
                  <a:pt x="396043" y="2193459"/>
                  <a:pt x="396043" y="2074152"/>
                </a:cubicBezTo>
                <a:cubicBezTo>
                  <a:pt x="396043" y="1990768"/>
                  <a:pt x="443286" y="1918419"/>
                  <a:pt x="512918" y="1883280"/>
                </a:cubicBezTo>
                <a:cubicBezTo>
                  <a:pt x="532219" y="1839511"/>
                  <a:pt x="513617" y="1794156"/>
                  <a:pt x="486332" y="1757155"/>
                </a:cubicBezTo>
                <a:lnTo>
                  <a:pt x="0" y="1757155"/>
                </a:lnTo>
                <a:lnTo>
                  <a:pt x="0" y="1270658"/>
                </a:lnTo>
                <a:cubicBezTo>
                  <a:pt x="36913" y="1243440"/>
                  <a:pt x="82146" y="1224987"/>
                  <a:pt x="125800" y="1244235"/>
                </a:cubicBezTo>
                <a:cubicBezTo>
                  <a:pt x="160938" y="1313868"/>
                  <a:pt x="233287" y="1361111"/>
                  <a:pt x="316671" y="1361111"/>
                </a:cubicBezTo>
                <a:cubicBezTo>
                  <a:pt x="435979" y="1361111"/>
                  <a:pt x="532696" y="1264394"/>
                  <a:pt x="532695" y="1145087"/>
                </a:cubicBezTo>
                <a:cubicBezTo>
                  <a:pt x="532696" y="1085433"/>
                  <a:pt x="508516" y="1031428"/>
                  <a:pt x="469423" y="992335"/>
                </a:cubicBezTo>
                <a:cubicBezTo>
                  <a:pt x="430331" y="953241"/>
                  <a:pt x="376325" y="929063"/>
                  <a:pt x="316671" y="929063"/>
                </a:cubicBezTo>
                <a:cubicBezTo>
                  <a:pt x="235212" y="929062"/>
                  <a:pt x="164282" y="974151"/>
                  <a:pt x="128360" y="1041219"/>
                </a:cubicBezTo>
                <a:cubicBezTo>
                  <a:pt x="82624" y="1063596"/>
                  <a:pt x="41974" y="1047710"/>
                  <a:pt x="0" y="1019480"/>
                </a:cubicBezTo>
                <a:lnTo>
                  <a:pt x="0" y="533019"/>
                </a:lnTo>
                <a:lnTo>
                  <a:pt x="486306" y="533019"/>
                </a:lnTo>
                <a:cubicBezTo>
                  <a:pt x="514616" y="490911"/>
                  <a:pt x="530629" y="450179"/>
                  <a:pt x="508200" y="404335"/>
                </a:cubicBezTo>
                <a:cubicBezTo>
                  <a:pt x="441131" y="368413"/>
                  <a:pt x="396043" y="297484"/>
                  <a:pt x="396043" y="216024"/>
                </a:cubicBezTo>
                <a:cubicBezTo>
                  <a:pt x="396043" y="156370"/>
                  <a:pt x="420223" y="102364"/>
                  <a:pt x="459315" y="63272"/>
                </a:cubicBezTo>
                <a:close/>
              </a:path>
            </a:pathLst>
          </a:cu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rtlCol="0" anchor="ctr">
            <a:noAutofit/>
          </a:bodyPr>
          <a:lstStyle/>
          <a:p>
            <a:pPr algn="ctr"/>
            <a:endParaRPr lang="en-US" sz="1000" err="1">
              <a:solidFill>
                <a:schemeClr val="tx2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946298" y="2013927"/>
            <a:ext cx="3040879" cy="147732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r"/>
            <a:r>
              <a:rPr lang="en-US" sz="1600" b="1" dirty="0">
                <a:solidFill>
                  <a:srgbClr val="0070C0"/>
                </a:solidFill>
                <a:latin typeface="Open Sans"/>
                <a:ea typeface="Open Sans"/>
                <a:cs typeface="Open Sans"/>
              </a:rPr>
              <a:t>Complete Files</a:t>
            </a:r>
            <a:br>
              <a:rPr lang="en-US" sz="1600" b="1" dirty="0">
                <a:latin typeface="Open Sans"/>
                <a:ea typeface="Open Sans"/>
                <a:cs typeface="Open Sans"/>
              </a:rPr>
            </a:br>
            <a:r>
              <a:rPr lang="en-US" sz="1600">
                <a:latin typeface="Open Sans"/>
                <a:ea typeface="Open Sans"/>
                <a:cs typeface="Open Sans"/>
              </a:rPr>
              <a:t>Maintain </a:t>
            </a:r>
            <a:r>
              <a:rPr lang="en-US" sz="1600" dirty="0">
                <a:latin typeface="Open Sans"/>
                <a:ea typeface="Open Sans"/>
                <a:cs typeface="Open Sans"/>
              </a:rPr>
              <a:t>all supporting documentation for your grants and </a:t>
            </a:r>
            <a:r>
              <a:rPr lang="en-US" sz="1600">
                <a:latin typeface="Open Sans"/>
                <a:ea typeface="Open Sans"/>
                <a:cs typeface="Open Sans"/>
              </a:rPr>
              <a:t>organize it </a:t>
            </a:r>
            <a:r>
              <a:rPr lang="en-US" sz="1600" dirty="0">
                <a:latin typeface="Open Sans"/>
                <a:ea typeface="Open Sans"/>
                <a:cs typeface="Open Sans"/>
              </a:rPr>
              <a:t>in a manner </a:t>
            </a:r>
            <a:br>
              <a:rPr lang="en-US" sz="1600">
                <a:latin typeface="Open Sans"/>
                <a:ea typeface="Open Sans"/>
                <a:cs typeface="Open Sans"/>
              </a:rPr>
            </a:br>
            <a:r>
              <a:rPr lang="en-US" sz="1600" dirty="0">
                <a:latin typeface="Open Sans"/>
                <a:ea typeface="Open Sans"/>
                <a:cs typeface="Open Sans"/>
              </a:rPr>
              <a:t>that allows for easy and </a:t>
            </a:r>
            <a:br>
              <a:rPr lang="en-US" sz="1600">
                <a:latin typeface="Open Sans"/>
                <a:ea typeface="Open Sans"/>
                <a:cs typeface="Open Sans"/>
              </a:rPr>
            </a:br>
            <a:r>
              <a:rPr lang="en-US" sz="1600" dirty="0">
                <a:latin typeface="Open Sans"/>
                <a:ea typeface="Open Sans"/>
                <a:cs typeface="Open Sans"/>
              </a:rPr>
              <a:t>quick retrieval.</a:t>
            </a:r>
            <a:endParaRPr lang="en-US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8283978" y="1969854"/>
            <a:ext cx="3770622" cy="123110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dirty="0">
                <a:solidFill>
                  <a:srgbClr val="7CC3D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arnings From Monitoring</a:t>
            </a:r>
          </a:p>
          <a:p>
            <a:r>
              <a:rPr lang="en-US" sz="1600" dirty="0">
                <a:latin typeface="Open Sans"/>
                <a:ea typeface="Open Sans"/>
                <a:cs typeface="Open Sans"/>
              </a:rPr>
              <a:t>Understand formal and informal observations shared during monitoring and implement adequate measures to address the issue(s).</a:t>
            </a:r>
          </a:p>
        </p:txBody>
      </p:sp>
      <p:sp>
        <p:nvSpPr>
          <p:cNvPr id="41" name="Rectangle 40"/>
          <p:cNvSpPr/>
          <p:nvPr/>
        </p:nvSpPr>
        <p:spPr>
          <a:xfrm>
            <a:off x="798223" y="4487287"/>
            <a:ext cx="3040879" cy="98488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r"/>
            <a:r>
              <a:rPr lang="en-US" sz="1600" b="1" dirty="0">
                <a:solidFill>
                  <a:srgbClr val="4BACC6"/>
                </a:solidFill>
                <a:latin typeface="Open Sans"/>
                <a:ea typeface="Open Sans"/>
                <a:cs typeface="Open Sans"/>
              </a:rPr>
              <a:t>Single Audit Completion</a:t>
            </a:r>
            <a:br>
              <a:rPr lang="en-US" sz="1600" b="1" dirty="0">
                <a:latin typeface="Open Sans"/>
                <a:ea typeface="Open Sans"/>
                <a:cs typeface="Open Sans"/>
              </a:rPr>
            </a:br>
            <a:r>
              <a:rPr lang="en-US" sz="1600" dirty="0">
                <a:latin typeface="Open Sans"/>
                <a:ea typeface="Open Sans"/>
                <a:cs typeface="Open Sans"/>
              </a:rPr>
              <a:t>Complete single audits if required and address all findings identified.</a:t>
            </a:r>
            <a:endParaRPr lang="en-US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8332240" y="4495133"/>
            <a:ext cx="3343025" cy="196977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600" b="1" dirty="0">
                <a:solidFill>
                  <a:srgbClr val="17375E"/>
                </a:solidFill>
                <a:latin typeface="Open Sans"/>
                <a:ea typeface="Open Sans"/>
                <a:cs typeface="Open Sans"/>
              </a:rPr>
              <a:t>Final Reporting</a:t>
            </a:r>
            <a:br>
              <a:rPr lang="en-US" sz="1600" b="1" dirty="0">
                <a:latin typeface="Open Sans"/>
                <a:ea typeface="Open Sans"/>
                <a:cs typeface="Open Sans"/>
              </a:rPr>
            </a:br>
            <a:r>
              <a:rPr lang="en-US" sz="1600" dirty="0">
                <a:latin typeface="Open Sans"/>
                <a:ea typeface="Open Sans"/>
                <a:cs typeface="Open Sans"/>
              </a:rPr>
              <a:t>Verify that all expenditures claimed under ESSER are fully allowable and supported by necessary documentation. </a:t>
            </a:r>
            <a:br>
              <a:rPr lang="en-US" sz="1600" dirty="0">
                <a:latin typeface="Open Sans"/>
                <a:ea typeface="Open Sans"/>
                <a:cs typeface="Open Sans"/>
              </a:rPr>
            </a:br>
            <a:endParaRPr lang="en-US" sz="1600" dirty="0">
              <a:latin typeface="Open Sans"/>
              <a:ea typeface="Open Sans"/>
              <a:cs typeface="Open Sans"/>
            </a:endParaRPr>
          </a:p>
          <a:p>
            <a:r>
              <a:rPr lang="en-US" sz="1600" dirty="0">
                <a:latin typeface="Open Sans"/>
                <a:ea typeface="Open Sans"/>
                <a:cs typeface="Open Sans"/>
              </a:rPr>
              <a:t>Reconcile all claims and return overpayments on time.</a:t>
            </a:r>
          </a:p>
        </p:txBody>
      </p:sp>
      <p:sp>
        <p:nvSpPr>
          <p:cNvPr id="49" name="Freeform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 bwMode="auto">
          <a:xfrm rot="18900000">
            <a:off x="4154443" y="2265495"/>
            <a:ext cx="355627" cy="353230"/>
          </a:xfrm>
          <a:custGeom>
            <a:avLst/>
            <a:gdLst>
              <a:gd name="T0" fmla="*/ 212 w 212"/>
              <a:gd name="T1" fmla="*/ 105 h 210"/>
              <a:gd name="T2" fmla="*/ 212 w 212"/>
              <a:gd name="T3" fmla="*/ 105 h 210"/>
              <a:gd name="T4" fmla="*/ 212 w 212"/>
              <a:gd name="T5" fmla="*/ 105 h 210"/>
              <a:gd name="T6" fmla="*/ 212 w 212"/>
              <a:gd name="T7" fmla="*/ 105 h 210"/>
              <a:gd name="T8" fmla="*/ 198 w 212"/>
              <a:gd name="T9" fmla="*/ 97 h 210"/>
              <a:gd name="T10" fmla="*/ 153 w 212"/>
              <a:gd name="T11" fmla="*/ 93 h 210"/>
              <a:gd name="T12" fmla="*/ 140 w 212"/>
              <a:gd name="T13" fmla="*/ 77 h 210"/>
              <a:gd name="T14" fmla="*/ 146 w 212"/>
              <a:gd name="T15" fmla="*/ 70 h 210"/>
              <a:gd name="T16" fmla="*/ 140 w 212"/>
              <a:gd name="T17" fmla="*/ 64 h 210"/>
              <a:gd name="T18" fmla="*/ 139 w 212"/>
              <a:gd name="T19" fmla="*/ 64 h 210"/>
              <a:gd name="T20" fmla="*/ 139 w 212"/>
              <a:gd name="T21" fmla="*/ 64 h 210"/>
              <a:gd name="T22" fmla="*/ 131 w 212"/>
              <a:gd name="T23" fmla="*/ 64 h 210"/>
              <a:gd name="T24" fmla="*/ 117 w 212"/>
              <a:gd name="T25" fmla="*/ 45 h 210"/>
              <a:gd name="T26" fmla="*/ 117 w 212"/>
              <a:gd name="T27" fmla="*/ 45 h 210"/>
              <a:gd name="T28" fmla="*/ 123 w 212"/>
              <a:gd name="T29" fmla="*/ 39 h 210"/>
              <a:gd name="T30" fmla="*/ 118 w 212"/>
              <a:gd name="T31" fmla="*/ 33 h 210"/>
              <a:gd name="T32" fmla="*/ 118 w 212"/>
              <a:gd name="T33" fmla="*/ 33 h 210"/>
              <a:gd name="T34" fmla="*/ 108 w 212"/>
              <a:gd name="T35" fmla="*/ 33 h 210"/>
              <a:gd name="T36" fmla="*/ 101 w 212"/>
              <a:gd name="T37" fmla="*/ 24 h 210"/>
              <a:gd name="T38" fmla="*/ 89 w 212"/>
              <a:gd name="T39" fmla="*/ 7 h 210"/>
              <a:gd name="T40" fmla="*/ 77 w 212"/>
              <a:gd name="T41" fmla="*/ 0 h 210"/>
              <a:gd name="T42" fmla="*/ 67 w 212"/>
              <a:gd name="T43" fmla="*/ 0 h 210"/>
              <a:gd name="T44" fmla="*/ 86 w 212"/>
              <a:gd name="T45" fmla="*/ 45 h 210"/>
              <a:gd name="T46" fmla="*/ 94 w 212"/>
              <a:gd name="T47" fmla="*/ 64 h 210"/>
              <a:gd name="T48" fmla="*/ 98 w 212"/>
              <a:gd name="T49" fmla="*/ 85 h 210"/>
              <a:gd name="T50" fmla="*/ 80 w 212"/>
              <a:gd name="T51" fmla="*/ 95 h 210"/>
              <a:gd name="T52" fmla="*/ 36 w 212"/>
              <a:gd name="T53" fmla="*/ 97 h 210"/>
              <a:gd name="T54" fmla="*/ 14 w 212"/>
              <a:gd name="T55" fmla="*/ 69 h 210"/>
              <a:gd name="T56" fmla="*/ 0 w 212"/>
              <a:gd name="T57" fmla="*/ 67 h 210"/>
              <a:gd name="T58" fmla="*/ 9 w 212"/>
              <a:gd name="T59" fmla="*/ 101 h 210"/>
              <a:gd name="T60" fmla="*/ 8 w 212"/>
              <a:gd name="T61" fmla="*/ 101 h 210"/>
              <a:gd name="T62" fmla="*/ 4 w 212"/>
              <a:gd name="T63" fmla="*/ 105 h 210"/>
              <a:gd name="T64" fmla="*/ 8 w 212"/>
              <a:gd name="T65" fmla="*/ 110 h 210"/>
              <a:gd name="T66" fmla="*/ 9 w 212"/>
              <a:gd name="T67" fmla="*/ 110 h 210"/>
              <a:gd name="T68" fmla="*/ 0 w 212"/>
              <a:gd name="T69" fmla="*/ 143 h 210"/>
              <a:gd name="T70" fmla="*/ 14 w 212"/>
              <a:gd name="T71" fmla="*/ 141 h 210"/>
              <a:gd name="T72" fmla="*/ 36 w 212"/>
              <a:gd name="T73" fmla="*/ 112 h 210"/>
              <a:gd name="T74" fmla="*/ 80 w 212"/>
              <a:gd name="T75" fmla="*/ 114 h 210"/>
              <a:gd name="T76" fmla="*/ 98 w 212"/>
              <a:gd name="T77" fmla="*/ 124 h 210"/>
              <a:gd name="T78" fmla="*/ 94 w 212"/>
              <a:gd name="T79" fmla="*/ 145 h 210"/>
              <a:gd name="T80" fmla="*/ 86 w 212"/>
              <a:gd name="T81" fmla="*/ 165 h 210"/>
              <a:gd name="T82" fmla="*/ 67 w 212"/>
              <a:gd name="T83" fmla="*/ 210 h 210"/>
              <a:gd name="T84" fmla="*/ 77 w 212"/>
              <a:gd name="T85" fmla="*/ 210 h 210"/>
              <a:gd name="T86" fmla="*/ 89 w 212"/>
              <a:gd name="T87" fmla="*/ 202 h 210"/>
              <a:gd name="T88" fmla="*/ 101 w 212"/>
              <a:gd name="T89" fmla="*/ 186 h 210"/>
              <a:gd name="T90" fmla="*/ 108 w 212"/>
              <a:gd name="T91" fmla="*/ 177 h 210"/>
              <a:gd name="T92" fmla="*/ 118 w 212"/>
              <a:gd name="T93" fmla="*/ 177 h 210"/>
              <a:gd name="T94" fmla="*/ 118 w 212"/>
              <a:gd name="T95" fmla="*/ 177 h 210"/>
              <a:gd name="T96" fmla="*/ 123 w 212"/>
              <a:gd name="T97" fmla="*/ 171 h 210"/>
              <a:gd name="T98" fmla="*/ 117 w 212"/>
              <a:gd name="T99" fmla="*/ 165 h 210"/>
              <a:gd name="T100" fmla="*/ 117 w 212"/>
              <a:gd name="T101" fmla="*/ 165 h 210"/>
              <a:gd name="T102" fmla="*/ 131 w 212"/>
              <a:gd name="T103" fmla="*/ 145 h 210"/>
              <a:gd name="T104" fmla="*/ 141 w 212"/>
              <a:gd name="T105" fmla="*/ 145 h 210"/>
              <a:gd name="T106" fmla="*/ 141 w 212"/>
              <a:gd name="T107" fmla="*/ 145 h 210"/>
              <a:gd name="T108" fmla="*/ 146 w 212"/>
              <a:gd name="T109" fmla="*/ 139 h 210"/>
              <a:gd name="T110" fmla="*/ 140 w 212"/>
              <a:gd name="T111" fmla="*/ 133 h 210"/>
              <a:gd name="T112" fmla="*/ 153 w 212"/>
              <a:gd name="T113" fmla="*/ 116 h 210"/>
              <a:gd name="T114" fmla="*/ 198 w 212"/>
              <a:gd name="T115" fmla="*/ 112 h 210"/>
              <a:gd name="T116" fmla="*/ 212 w 212"/>
              <a:gd name="T117" fmla="*/ 105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12" h="210">
                <a:moveTo>
                  <a:pt x="212" y="105"/>
                </a:moveTo>
                <a:cubicBezTo>
                  <a:pt x="212" y="105"/>
                  <a:pt x="212" y="105"/>
                  <a:pt x="212" y="105"/>
                </a:cubicBezTo>
                <a:cubicBezTo>
                  <a:pt x="212" y="105"/>
                  <a:pt x="212" y="105"/>
                  <a:pt x="212" y="105"/>
                </a:cubicBezTo>
                <a:cubicBezTo>
                  <a:pt x="212" y="105"/>
                  <a:pt x="212" y="105"/>
                  <a:pt x="212" y="105"/>
                </a:cubicBezTo>
                <a:cubicBezTo>
                  <a:pt x="212" y="102"/>
                  <a:pt x="207" y="99"/>
                  <a:pt x="198" y="97"/>
                </a:cubicBezTo>
                <a:cubicBezTo>
                  <a:pt x="189" y="95"/>
                  <a:pt x="174" y="94"/>
                  <a:pt x="153" y="93"/>
                </a:cubicBezTo>
                <a:cubicBezTo>
                  <a:pt x="149" y="89"/>
                  <a:pt x="145" y="83"/>
                  <a:pt x="140" y="77"/>
                </a:cubicBezTo>
                <a:cubicBezTo>
                  <a:pt x="143" y="76"/>
                  <a:pt x="146" y="74"/>
                  <a:pt x="146" y="70"/>
                </a:cubicBezTo>
                <a:cubicBezTo>
                  <a:pt x="146" y="67"/>
                  <a:pt x="143" y="64"/>
                  <a:pt x="140" y="64"/>
                </a:cubicBezTo>
                <a:cubicBezTo>
                  <a:pt x="140" y="64"/>
                  <a:pt x="139" y="64"/>
                  <a:pt x="139" y="64"/>
                </a:cubicBezTo>
                <a:cubicBezTo>
                  <a:pt x="139" y="64"/>
                  <a:pt x="139" y="64"/>
                  <a:pt x="139" y="64"/>
                </a:cubicBezTo>
                <a:cubicBezTo>
                  <a:pt x="131" y="64"/>
                  <a:pt x="131" y="64"/>
                  <a:pt x="131" y="64"/>
                </a:cubicBezTo>
                <a:cubicBezTo>
                  <a:pt x="117" y="45"/>
                  <a:pt x="117" y="45"/>
                  <a:pt x="117" y="45"/>
                </a:cubicBezTo>
                <a:cubicBezTo>
                  <a:pt x="117" y="45"/>
                  <a:pt x="117" y="45"/>
                  <a:pt x="117" y="45"/>
                </a:cubicBezTo>
                <a:cubicBezTo>
                  <a:pt x="121" y="45"/>
                  <a:pt x="123" y="42"/>
                  <a:pt x="123" y="39"/>
                </a:cubicBezTo>
                <a:cubicBezTo>
                  <a:pt x="123" y="36"/>
                  <a:pt x="121" y="33"/>
                  <a:pt x="118" y="33"/>
                </a:cubicBezTo>
                <a:cubicBezTo>
                  <a:pt x="118" y="33"/>
                  <a:pt x="118" y="33"/>
                  <a:pt x="118" y="33"/>
                </a:cubicBezTo>
                <a:cubicBezTo>
                  <a:pt x="108" y="33"/>
                  <a:pt x="108" y="33"/>
                  <a:pt x="108" y="33"/>
                </a:cubicBezTo>
                <a:cubicBezTo>
                  <a:pt x="101" y="24"/>
                  <a:pt x="101" y="24"/>
                  <a:pt x="101" y="24"/>
                </a:cubicBezTo>
                <a:cubicBezTo>
                  <a:pt x="97" y="18"/>
                  <a:pt x="93" y="13"/>
                  <a:pt x="89" y="7"/>
                </a:cubicBezTo>
                <a:cubicBezTo>
                  <a:pt x="85" y="2"/>
                  <a:pt x="81" y="0"/>
                  <a:pt x="77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72" y="13"/>
                  <a:pt x="79" y="28"/>
                  <a:pt x="86" y="45"/>
                </a:cubicBezTo>
                <a:cubicBezTo>
                  <a:pt x="88" y="51"/>
                  <a:pt x="91" y="58"/>
                  <a:pt x="94" y="64"/>
                </a:cubicBezTo>
                <a:cubicBezTo>
                  <a:pt x="97" y="73"/>
                  <a:pt x="98" y="80"/>
                  <a:pt x="98" y="85"/>
                </a:cubicBezTo>
                <a:cubicBezTo>
                  <a:pt x="98" y="92"/>
                  <a:pt x="92" y="95"/>
                  <a:pt x="80" y="95"/>
                </a:cubicBezTo>
                <a:cubicBezTo>
                  <a:pt x="36" y="97"/>
                  <a:pt x="36" y="97"/>
                  <a:pt x="36" y="97"/>
                </a:cubicBezTo>
                <a:cubicBezTo>
                  <a:pt x="14" y="69"/>
                  <a:pt x="14" y="69"/>
                  <a:pt x="14" y="69"/>
                </a:cubicBezTo>
                <a:cubicBezTo>
                  <a:pt x="12" y="69"/>
                  <a:pt x="8" y="68"/>
                  <a:pt x="0" y="67"/>
                </a:cubicBezTo>
                <a:cubicBezTo>
                  <a:pt x="9" y="101"/>
                  <a:pt x="9" y="101"/>
                  <a:pt x="9" y="101"/>
                </a:cubicBezTo>
                <a:cubicBezTo>
                  <a:pt x="9" y="101"/>
                  <a:pt x="8" y="101"/>
                  <a:pt x="8" y="101"/>
                </a:cubicBezTo>
                <a:cubicBezTo>
                  <a:pt x="6" y="101"/>
                  <a:pt x="4" y="103"/>
                  <a:pt x="4" y="105"/>
                </a:cubicBezTo>
                <a:cubicBezTo>
                  <a:pt x="4" y="108"/>
                  <a:pt x="6" y="110"/>
                  <a:pt x="8" y="110"/>
                </a:cubicBezTo>
                <a:cubicBezTo>
                  <a:pt x="8" y="110"/>
                  <a:pt x="8" y="110"/>
                  <a:pt x="9" y="110"/>
                </a:cubicBezTo>
                <a:cubicBezTo>
                  <a:pt x="0" y="143"/>
                  <a:pt x="0" y="143"/>
                  <a:pt x="0" y="143"/>
                </a:cubicBezTo>
                <a:cubicBezTo>
                  <a:pt x="8" y="142"/>
                  <a:pt x="12" y="141"/>
                  <a:pt x="14" y="141"/>
                </a:cubicBezTo>
                <a:cubicBezTo>
                  <a:pt x="36" y="112"/>
                  <a:pt x="36" y="112"/>
                  <a:pt x="36" y="112"/>
                </a:cubicBezTo>
                <a:cubicBezTo>
                  <a:pt x="80" y="114"/>
                  <a:pt x="80" y="114"/>
                  <a:pt x="80" y="114"/>
                </a:cubicBezTo>
                <a:cubicBezTo>
                  <a:pt x="92" y="114"/>
                  <a:pt x="98" y="118"/>
                  <a:pt x="98" y="124"/>
                </a:cubicBezTo>
                <a:cubicBezTo>
                  <a:pt x="98" y="130"/>
                  <a:pt x="97" y="137"/>
                  <a:pt x="94" y="145"/>
                </a:cubicBezTo>
                <a:cubicBezTo>
                  <a:pt x="91" y="152"/>
                  <a:pt x="88" y="158"/>
                  <a:pt x="86" y="165"/>
                </a:cubicBezTo>
                <a:cubicBezTo>
                  <a:pt x="79" y="182"/>
                  <a:pt x="72" y="197"/>
                  <a:pt x="67" y="210"/>
                </a:cubicBezTo>
                <a:cubicBezTo>
                  <a:pt x="77" y="210"/>
                  <a:pt x="77" y="210"/>
                  <a:pt x="77" y="210"/>
                </a:cubicBezTo>
                <a:cubicBezTo>
                  <a:pt x="81" y="210"/>
                  <a:pt x="85" y="207"/>
                  <a:pt x="89" y="202"/>
                </a:cubicBezTo>
                <a:cubicBezTo>
                  <a:pt x="93" y="197"/>
                  <a:pt x="97" y="192"/>
                  <a:pt x="101" y="186"/>
                </a:cubicBezTo>
                <a:cubicBezTo>
                  <a:pt x="108" y="177"/>
                  <a:pt x="108" y="177"/>
                  <a:pt x="108" y="177"/>
                </a:cubicBezTo>
                <a:cubicBezTo>
                  <a:pt x="118" y="177"/>
                  <a:pt x="118" y="177"/>
                  <a:pt x="118" y="177"/>
                </a:cubicBezTo>
                <a:cubicBezTo>
                  <a:pt x="118" y="177"/>
                  <a:pt x="118" y="177"/>
                  <a:pt x="118" y="177"/>
                </a:cubicBezTo>
                <a:cubicBezTo>
                  <a:pt x="121" y="177"/>
                  <a:pt x="123" y="174"/>
                  <a:pt x="123" y="171"/>
                </a:cubicBezTo>
                <a:cubicBezTo>
                  <a:pt x="123" y="167"/>
                  <a:pt x="121" y="165"/>
                  <a:pt x="117" y="165"/>
                </a:cubicBezTo>
                <a:cubicBezTo>
                  <a:pt x="117" y="165"/>
                  <a:pt x="117" y="165"/>
                  <a:pt x="117" y="165"/>
                </a:cubicBezTo>
                <a:cubicBezTo>
                  <a:pt x="131" y="145"/>
                  <a:pt x="131" y="145"/>
                  <a:pt x="131" y="145"/>
                </a:cubicBezTo>
                <a:cubicBezTo>
                  <a:pt x="141" y="145"/>
                  <a:pt x="141" y="145"/>
                  <a:pt x="141" y="145"/>
                </a:cubicBezTo>
                <a:cubicBezTo>
                  <a:pt x="141" y="145"/>
                  <a:pt x="141" y="145"/>
                  <a:pt x="141" y="145"/>
                </a:cubicBezTo>
                <a:cubicBezTo>
                  <a:pt x="144" y="145"/>
                  <a:pt x="146" y="142"/>
                  <a:pt x="146" y="139"/>
                </a:cubicBezTo>
                <a:cubicBezTo>
                  <a:pt x="146" y="136"/>
                  <a:pt x="143" y="133"/>
                  <a:pt x="140" y="133"/>
                </a:cubicBezTo>
                <a:cubicBezTo>
                  <a:pt x="145" y="127"/>
                  <a:pt x="149" y="121"/>
                  <a:pt x="153" y="116"/>
                </a:cubicBezTo>
                <a:cubicBezTo>
                  <a:pt x="174" y="116"/>
                  <a:pt x="189" y="115"/>
                  <a:pt x="198" y="112"/>
                </a:cubicBezTo>
                <a:cubicBezTo>
                  <a:pt x="207" y="110"/>
                  <a:pt x="212" y="108"/>
                  <a:pt x="212" y="10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51" name="Freeform 3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723423" y="2268902"/>
            <a:ext cx="249402" cy="321376"/>
          </a:xfrm>
          <a:custGeom>
            <a:avLst/>
            <a:gdLst>
              <a:gd name="T0" fmla="*/ 12 w 140"/>
              <a:gd name="T1" fmla="*/ 35 h 180"/>
              <a:gd name="T2" fmla="*/ 35 w 140"/>
              <a:gd name="T3" fmla="*/ 12 h 180"/>
              <a:gd name="T4" fmla="*/ 34 w 140"/>
              <a:gd name="T5" fmla="*/ 5 h 180"/>
              <a:gd name="T6" fmla="*/ 32 w 140"/>
              <a:gd name="T7" fmla="*/ 2 h 180"/>
              <a:gd name="T8" fmla="*/ 25 w 140"/>
              <a:gd name="T9" fmla="*/ 2 h 180"/>
              <a:gd name="T10" fmla="*/ 2 w 140"/>
              <a:gd name="T11" fmla="*/ 26 h 180"/>
              <a:gd name="T12" fmla="*/ 2 w 140"/>
              <a:gd name="T13" fmla="*/ 33 h 180"/>
              <a:gd name="T14" fmla="*/ 5 w 140"/>
              <a:gd name="T15" fmla="*/ 35 h 180"/>
              <a:gd name="T16" fmla="*/ 12 w 140"/>
              <a:gd name="T17" fmla="*/ 35 h 180"/>
              <a:gd name="T18" fmla="*/ 134 w 140"/>
              <a:gd name="T19" fmla="*/ 1 h 180"/>
              <a:gd name="T20" fmla="*/ 62 w 140"/>
              <a:gd name="T21" fmla="*/ 1 h 180"/>
              <a:gd name="T22" fmla="*/ 51 w 140"/>
              <a:gd name="T23" fmla="*/ 5 h 180"/>
              <a:gd name="T24" fmla="*/ 11 w 140"/>
              <a:gd name="T25" fmla="*/ 47 h 180"/>
              <a:gd name="T26" fmla="*/ 6 w 140"/>
              <a:gd name="T27" fmla="*/ 58 h 180"/>
              <a:gd name="T28" fmla="*/ 6 w 140"/>
              <a:gd name="T29" fmla="*/ 174 h 180"/>
              <a:gd name="T30" fmla="*/ 12 w 140"/>
              <a:gd name="T31" fmla="*/ 180 h 180"/>
              <a:gd name="T32" fmla="*/ 134 w 140"/>
              <a:gd name="T33" fmla="*/ 180 h 180"/>
              <a:gd name="T34" fmla="*/ 140 w 140"/>
              <a:gd name="T35" fmla="*/ 174 h 180"/>
              <a:gd name="T36" fmla="*/ 140 w 140"/>
              <a:gd name="T37" fmla="*/ 7 h 180"/>
              <a:gd name="T38" fmla="*/ 134 w 140"/>
              <a:gd name="T39" fmla="*/ 1 h 180"/>
              <a:gd name="T40" fmla="*/ 74 w 140"/>
              <a:gd name="T41" fmla="*/ 147 h 180"/>
              <a:gd name="T42" fmla="*/ 53 w 140"/>
              <a:gd name="T43" fmla="*/ 126 h 180"/>
              <a:gd name="T44" fmla="*/ 54 w 140"/>
              <a:gd name="T45" fmla="*/ 119 h 180"/>
              <a:gd name="T46" fmla="*/ 54 w 140"/>
              <a:gd name="T47" fmla="*/ 119 h 180"/>
              <a:gd name="T48" fmla="*/ 59 w 140"/>
              <a:gd name="T49" fmla="*/ 105 h 180"/>
              <a:gd name="T50" fmla="*/ 74 w 140"/>
              <a:gd name="T51" fmla="*/ 80 h 180"/>
              <a:gd name="T52" fmla="*/ 89 w 140"/>
              <a:gd name="T53" fmla="*/ 105 h 180"/>
              <a:gd name="T54" fmla="*/ 94 w 140"/>
              <a:gd name="T55" fmla="*/ 119 h 180"/>
              <a:gd name="T56" fmla="*/ 94 w 140"/>
              <a:gd name="T57" fmla="*/ 119 h 180"/>
              <a:gd name="T58" fmla="*/ 96 w 140"/>
              <a:gd name="T59" fmla="*/ 126 h 180"/>
              <a:gd name="T60" fmla="*/ 74 w 140"/>
              <a:gd name="T61" fmla="*/ 147 h 180"/>
              <a:gd name="T62" fmla="*/ 124 w 140"/>
              <a:gd name="T63" fmla="*/ 30 h 180"/>
              <a:gd name="T64" fmla="*/ 118 w 140"/>
              <a:gd name="T65" fmla="*/ 37 h 180"/>
              <a:gd name="T66" fmla="*/ 72 w 140"/>
              <a:gd name="T67" fmla="*/ 37 h 180"/>
              <a:gd name="T68" fmla="*/ 65 w 140"/>
              <a:gd name="T69" fmla="*/ 30 h 180"/>
              <a:gd name="T70" fmla="*/ 65 w 140"/>
              <a:gd name="T71" fmla="*/ 22 h 180"/>
              <a:gd name="T72" fmla="*/ 72 w 140"/>
              <a:gd name="T73" fmla="*/ 16 h 180"/>
              <a:gd name="T74" fmla="*/ 118 w 140"/>
              <a:gd name="T75" fmla="*/ 16 h 180"/>
              <a:gd name="T76" fmla="*/ 124 w 140"/>
              <a:gd name="T77" fmla="*/ 22 h 180"/>
              <a:gd name="T78" fmla="*/ 124 w 140"/>
              <a:gd name="T79" fmla="*/ 30 h 180"/>
              <a:gd name="T80" fmla="*/ 85 w 140"/>
              <a:gd name="T81" fmla="*/ 116 h 180"/>
              <a:gd name="T82" fmla="*/ 80 w 140"/>
              <a:gd name="T83" fmla="*/ 126 h 180"/>
              <a:gd name="T84" fmla="*/ 85 w 140"/>
              <a:gd name="T85" fmla="*/ 136 h 180"/>
              <a:gd name="T86" fmla="*/ 89 w 140"/>
              <a:gd name="T87" fmla="*/ 126 h 180"/>
              <a:gd name="T88" fmla="*/ 85 w 140"/>
              <a:gd name="T89" fmla="*/ 116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40" h="180">
                <a:moveTo>
                  <a:pt x="12" y="35"/>
                </a:moveTo>
                <a:cubicBezTo>
                  <a:pt x="35" y="12"/>
                  <a:pt x="35" y="12"/>
                  <a:pt x="35" y="12"/>
                </a:cubicBezTo>
                <a:cubicBezTo>
                  <a:pt x="36" y="10"/>
                  <a:pt x="36" y="7"/>
                  <a:pt x="34" y="5"/>
                </a:cubicBezTo>
                <a:cubicBezTo>
                  <a:pt x="32" y="2"/>
                  <a:pt x="32" y="2"/>
                  <a:pt x="32" y="2"/>
                </a:cubicBezTo>
                <a:cubicBezTo>
                  <a:pt x="30" y="0"/>
                  <a:pt x="27" y="0"/>
                  <a:pt x="25" y="2"/>
                </a:cubicBezTo>
                <a:cubicBezTo>
                  <a:pt x="2" y="26"/>
                  <a:pt x="2" y="26"/>
                  <a:pt x="2" y="26"/>
                </a:cubicBezTo>
                <a:cubicBezTo>
                  <a:pt x="0" y="28"/>
                  <a:pt x="0" y="31"/>
                  <a:pt x="2" y="33"/>
                </a:cubicBezTo>
                <a:cubicBezTo>
                  <a:pt x="5" y="35"/>
                  <a:pt x="5" y="35"/>
                  <a:pt x="5" y="35"/>
                </a:cubicBezTo>
                <a:cubicBezTo>
                  <a:pt x="7" y="37"/>
                  <a:pt x="10" y="37"/>
                  <a:pt x="12" y="35"/>
                </a:cubicBezTo>
                <a:close/>
                <a:moveTo>
                  <a:pt x="134" y="1"/>
                </a:moveTo>
                <a:cubicBezTo>
                  <a:pt x="62" y="1"/>
                  <a:pt x="62" y="1"/>
                  <a:pt x="62" y="1"/>
                </a:cubicBezTo>
                <a:cubicBezTo>
                  <a:pt x="58" y="1"/>
                  <a:pt x="54" y="3"/>
                  <a:pt x="51" y="5"/>
                </a:cubicBezTo>
                <a:cubicBezTo>
                  <a:pt x="11" y="47"/>
                  <a:pt x="11" y="47"/>
                  <a:pt x="11" y="47"/>
                </a:cubicBezTo>
                <a:cubicBezTo>
                  <a:pt x="8" y="50"/>
                  <a:pt x="6" y="54"/>
                  <a:pt x="6" y="58"/>
                </a:cubicBezTo>
                <a:cubicBezTo>
                  <a:pt x="6" y="174"/>
                  <a:pt x="6" y="174"/>
                  <a:pt x="6" y="174"/>
                </a:cubicBezTo>
                <a:cubicBezTo>
                  <a:pt x="6" y="177"/>
                  <a:pt x="9" y="180"/>
                  <a:pt x="12" y="180"/>
                </a:cubicBezTo>
                <a:cubicBezTo>
                  <a:pt x="134" y="180"/>
                  <a:pt x="134" y="180"/>
                  <a:pt x="134" y="180"/>
                </a:cubicBezTo>
                <a:cubicBezTo>
                  <a:pt x="137" y="180"/>
                  <a:pt x="140" y="177"/>
                  <a:pt x="140" y="174"/>
                </a:cubicBezTo>
                <a:cubicBezTo>
                  <a:pt x="140" y="7"/>
                  <a:pt x="140" y="7"/>
                  <a:pt x="140" y="7"/>
                </a:cubicBezTo>
                <a:cubicBezTo>
                  <a:pt x="140" y="4"/>
                  <a:pt x="137" y="1"/>
                  <a:pt x="134" y="1"/>
                </a:cubicBezTo>
                <a:close/>
                <a:moveTo>
                  <a:pt x="74" y="147"/>
                </a:moveTo>
                <a:cubicBezTo>
                  <a:pt x="62" y="147"/>
                  <a:pt x="53" y="137"/>
                  <a:pt x="53" y="126"/>
                </a:cubicBezTo>
                <a:cubicBezTo>
                  <a:pt x="53" y="123"/>
                  <a:pt x="53" y="121"/>
                  <a:pt x="54" y="119"/>
                </a:cubicBezTo>
                <a:cubicBezTo>
                  <a:pt x="54" y="119"/>
                  <a:pt x="54" y="119"/>
                  <a:pt x="54" y="119"/>
                </a:cubicBezTo>
                <a:cubicBezTo>
                  <a:pt x="55" y="114"/>
                  <a:pt x="57" y="110"/>
                  <a:pt x="59" y="105"/>
                </a:cubicBezTo>
                <a:cubicBezTo>
                  <a:pt x="64" y="94"/>
                  <a:pt x="69" y="86"/>
                  <a:pt x="74" y="80"/>
                </a:cubicBezTo>
                <a:cubicBezTo>
                  <a:pt x="79" y="86"/>
                  <a:pt x="84" y="94"/>
                  <a:pt x="89" y="105"/>
                </a:cubicBezTo>
                <a:cubicBezTo>
                  <a:pt x="91" y="110"/>
                  <a:pt x="93" y="114"/>
                  <a:pt x="94" y="119"/>
                </a:cubicBezTo>
                <a:cubicBezTo>
                  <a:pt x="94" y="119"/>
                  <a:pt x="94" y="119"/>
                  <a:pt x="94" y="119"/>
                </a:cubicBezTo>
                <a:cubicBezTo>
                  <a:pt x="95" y="121"/>
                  <a:pt x="96" y="123"/>
                  <a:pt x="96" y="126"/>
                </a:cubicBezTo>
                <a:cubicBezTo>
                  <a:pt x="96" y="137"/>
                  <a:pt x="86" y="147"/>
                  <a:pt x="74" y="147"/>
                </a:cubicBezTo>
                <a:close/>
                <a:moveTo>
                  <a:pt x="124" y="30"/>
                </a:moveTo>
                <a:cubicBezTo>
                  <a:pt x="124" y="34"/>
                  <a:pt x="122" y="37"/>
                  <a:pt x="118" y="37"/>
                </a:cubicBezTo>
                <a:cubicBezTo>
                  <a:pt x="72" y="37"/>
                  <a:pt x="72" y="37"/>
                  <a:pt x="72" y="37"/>
                </a:cubicBezTo>
                <a:cubicBezTo>
                  <a:pt x="68" y="37"/>
                  <a:pt x="65" y="34"/>
                  <a:pt x="65" y="30"/>
                </a:cubicBezTo>
                <a:cubicBezTo>
                  <a:pt x="65" y="22"/>
                  <a:pt x="65" y="22"/>
                  <a:pt x="65" y="22"/>
                </a:cubicBezTo>
                <a:cubicBezTo>
                  <a:pt x="65" y="19"/>
                  <a:pt x="68" y="16"/>
                  <a:pt x="72" y="16"/>
                </a:cubicBezTo>
                <a:cubicBezTo>
                  <a:pt x="118" y="16"/>
                  <a:pt x="118" y="16"/>
                  <a:pt x="118" y="16"/>
                </a:cubicBezTo>
                <a:cubicBezTo>
                  <a:pt x="122" y="16"/>
                  <a:pt x="124" y="19"/>
                  <a:pt x="124" y="22"/>
                </a:cubicBezTo>
                <a:lnTo>
                  <a:pt x="124" y="30"/>
                </a:lnTo>
                <a:close/>
                <a:moveTo>
                  <a:pt x="85" y="116"/>
                </a:moveTo>
                <a:cubicBezTo>
                  <a:pt x="82" y="116"/>
                  <a:pt x="80" y="120"/>
                  <a:pt x="80" y="126"/>
                </a:cubicBezTo>
                <a:cubicBezTo>
                  <a:pt x="80" y="131"/>
                  <a:pt x="82" y="136"/>
                  <a:pt x="85" y="136"/>
                </a:cubicBezTo>
                <a:cubicBezTo>
                  <a:pt x="87" y="136"/>
                  <a:pt x="89" y="131"/>
                  <a:pt x="89" y="126"/>
                </a:cubicBezTo>
                <a:cubicBezTo>
                  <a:pt x="89" y="120"/>
                  <a:pt x="87" y="116"/>
                  <a:pt x="85" y="1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53" name="Freeform 6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733000" y="4760167"/>
            <a:ext cx="336578" cy="311130"/>
          </a:xfrm>
          <a:custGeom>
            <a:avLst/>
            <a:gdLst>
              <a:gd name="T0" fmla="*/ 33 w 195"/>
              <a:gd name="T1" fmla="*/ 62 h 180"/>
              <a:gd name="T2" fmla="*/ 74 w 195"/>
              <a:gd name="T3" fmla="*/ 18 h 180"/>
              <a:gd name="T4" fmla="*/ 102 w 195"/>
              <a:gd name="T5" fmla="*/ 45 h 180"/>
              <a:gd name="T6" fmla="*/ 61 w 195"/>
              <a:gd name="T7" fmla="*/ 88 h 180"/>
              <a:gd name="T8" fmla="*/ 33 w 195"/>
              <a:gd name="T9" fmla="*/ 62 h 180"/>
              <a:gd name="T10" fmla="*/ 107 w 195"/>
              <a:gd name="T11" fmla="*/ 41 h 180"/>
              <a:gd name="T12" fmla="*/ 114 w 195"/>
              <a:gd name="T13" fmla="*/ 41 h 180"/>
              <a:gd name="T14" fmla="*/ 117 w 195"/>
              <a:gd name="T15" fmla="*/ 38 h 180"/>
              <a:gd name="T16" fmla="*/ 117 w 195"/>
              <a:gd name="T17" fmla="*/ 30 h 180"/>
              <a:gd name="T18" fmla="*/ 87 w 195"/>
              <a:gd name="T19" fmla="*/ 2 h 180"/>
              <a:gd name="T20" fmla="*/ 80 w 195"/>
              <a:gd name="T21" fmla="*/ 3 h 180"/>
              <a:gd name="T22" fmla="*/ 77 w 195"/>
              <a:gd name="T23" fmla="*/ 6 h 180"/>
              <a:gd name="T24" fmla="*/ 77 w 195"/>
              <a:gd name="T25" fmla="*/ 13 h 180"/>
              <a:gd name="T26" fmla="*/ 107 w 195"/>
              <a:gd name="T27" fmla="*/ 41 h 180"/>
              <a:gd name="T28" fmla="*/ 47 w 195"/>
              <a:gd name="T29" fmla="*/ 104 h 180"/>
              <a:gd name="T30" fmla="*/ 55 w 195"/>
              <a:gd name="T31" fmla="*/ 104 h 180"/>
              <a:gd name="T32" fmla="*/ 58 w 195"/>
              <a:gd name="T33" fmla="*/ 101 h 180"/>
              <a:gd name="T34" fmla="*/ 57 w 195"/>
              <a:gd name="T35" fmla="*/ 93 h 180"/>
              <a:gd name="T36" fmla="*/ 28 w 195"/>
              <a:gd name="T37" fmla="*/ 65 h 180"/>
              <a:gd name="T38" fmla="*/ 20 w 195"/>
              <a:gd name="T39" fmla="*/ 66 h 180"/>
              <a:gd name="T40" fmla="*/ 17 w 195"/>
              <a:gd name="T41" fmla="*/ 69 h 180"/>
              <a:gd name="T42" fmla="*/ 18 w 195"/>
              <a:gd name="T43" fmla="*/ 76 h 180"/>
              <a:gd name="T44" fmla="*/ 47 w 195"/>
              <a:gd name="T45" fmla="*/ 104 h 180"/>
              <a:gd name="T46" fmla="*/ 80 w 195"/>
              <a:gd name="T47" fmla="*/ 77 h 180"/>
              <a:gd name="T48" fmla="*/ 177 w 195"/>
              <a:gd name="T49" fmla="*/ 169 h 180"/>
              <a:gd name="T50" fmla="*/ 189 w 195"/>
              <a:gd name="T51" fmla="*/ 171 h 180"/>
              <a:gd name="T52" fmla="*/ 193 w 195"/>
              <a:gd name="T53" fmla="*/ 167 h 180"/>
              <a:gd name="T54" fmla="*/ 190 w 195"/>
              <a:gd name="T55" fmla="*/ 156 h 180"/>
              <a:gd name="T56" fmla="*/ 92 w 195"/>
              <a:gd name="T57" fmla="*/ 64 h 180"/>
              <a:gd name="T58" fmla="*/ 80 w 195"/>
              <a:gd name="T59" fmla="*/ 77 h 180"/>
              <a:gd name="T60" fmla="*/ 113 w 195"/>
              <a:gd name="T61" fmla="*/ 168 h 180"/>
              <a:gd name="T62" fmla="*/ 111 w 195"/>
              <a:gd name="T63" fmla="*/ 166 h 180"/>
              <a:gd name="T64" fmla="*/ 3 w 195"/>
              <a:gd name="T65" fmla="*/ 166 h 180"/>
              <a:gd name="T66" fmla="*/ 0 w 195"/>
              <a:gd name="T67" fmla="*/ 168 h 180"/>
              <a:gd name="T68" fmla="*/ 0 w 195"/>
              <a:gd name="T69" fmla="*/ 178 h 180"/>
              <a:gd name="T70" fmla="*/ 3 w 195"/>
              <a:gd name="T71" fmla="*/ 180 h 180"/>
              <a:gd name="T72" fmla="*/ 111 w 195"/>
              <a:gd name="T73" fmla="*/ 180 h 180"/>
              <a:gd name="T74" fmla="*/ 113 w 195"/>
              <a:gd name="T75" fmla="*/ 178 h 180"/>
              <a:gd name="T76" fmla="*/ 113 w 195"/>
              <a:gd name="T77" fmla="*/ 168 h 180"/>
              <a:gd name="T78" fmla="*/ 25 w 195"/>
              <a:gd name="T79" fmla="*/ 148 h 180"/>
              <a:gd name="T80" fmla="*/ 89 w 195"/>
              <a:gd name="T81" fmla="*/ 148 h 180"/>
              <a:gd name="T82" fmla="*/ 96 w 195"/>
              <a:gd name="T83" fmla="*/ 154 h 180"/>
              <a:gd name="T84" fmla="*/ 96 w 195"/>
              <a:gd name="T85" fmla="*/ 160 h 180"/>
              <a:gd name="T86" fmla="*/ 17 w 195"/>
              <a:gd name="T87" fmla="*/ 160 h 180"/>
              <a:gd name="T88" fmla="*/ 17 w 195"/>
              <a:gd name="T89" fmla="*/ 154 h 180"/>
              <a:gd name="T90" fmla="*/ 25 w 195"/>
              <a:gd name="T91" fmla="*/ 148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95" h="180">
                <a:moveTo>
                  <a:pt x="33" y="62"/>
                </a:moveTo>
                <a:cubicBezTo>
                  <a:pt x="74" y="18"/>
                  <a:pt x="74" y="18"/>
                  <a:pt x="74" y="18"/>
                </a:cubicBezTo>
                <a:cubicBezTo>
                  <a:pt x="102" y="45"/>
                  <a:pt x="102" y="45"/>
                  <a:pt x="102" y="45"/>
                </a:cubicBezTo>
                <a:cubicBezTo>
                  <a:pt x="61" y="88"/>
                  <a:pt x="61" y="88"/>
                  <a:pt x="61" y="88"/>
                </a:cubicBezTo>
                <a:lnTo>
                  <a:pt x="33" y="62"/>
                </a:lnTo>
                <a:close/>
                <a:moveTo>
                  <a:pt x="107" y="41"/>
                </a:moveTo>
                <a:cubicBezTo>
                  <a:pt x="109" y="43"/>
                  <a:pt x="112" y="43"/>
                  <a:pt x="114" y="41"/>
                </a:cubicBezTo>
                <a:cubicBezTo>
                  <a:pt x="117" y="38"/>
                  <a:pt x="117" y="38"/>
                  <a:pt x="117" y="38"/>
                </a:cubicBezTo>
                <a:cubicBezTo>
                  <a:pt x="119" y="35"/>
                  <a:pt x="119" y="32"/>
                  <a:pt x="117" y="30"/>
                </a:cubicBezTo>
                <a:cubicBezTo>
                  <a:pt x="87" y="2"/>
                  <a:pt x="87" y="2"/>
                  <a:pt x="87" y="2"/>
                </a:cubicBezTo>
                <a:cubicBezTo>
                  <a:pt x="85" y="0"/>
                  <a:pt x="82" y="0"/>
                  <a:pt x="80" y="3"/>
                </a:cubicBezTo>
                <a:cubicBezTo>
                  <a:pt x="77" y="6"/>
                  <a:pt x="77" y="6"/>
                  <a:pt x="77" y="6"/>
                </a:cubicBezTo>
                <a:cubicBezTo>
                  <a:pt x="75" y="8"/>
                  <a:pt x="75" y="11"/>
                  <a:pt x="77" y="13"/>
                </a:cubicBezTo>
                <a:lnTo>
                  <a:pt x="107" y="41"/>
                </a:lnTo>
                <a:close/>
                <a:moveTo>
                  <a:pt x="47" y="104"/>
                </a:moveTo>
                <a:cubicBezTo>
                  <a:pt x="49" y="106"/>
                  <a:pt x="53" y="106"/>
                  <a:pt x="55" y="104"/>
                </a:cubicBezTo>
                <a:cubicBezTo>
                  <a:pt x="58" y="101"/>
                  <a:pt x="58" y="101"/>
                  <a:pt x="58" y="101"/>
                </a:cubicBezTo>
                <a:cubicBezTo>
                  <a:pt x="60" y="99"/>
                  <a:pt x="60" y="95"/>
                  <a:pt x="57" y="93"/>
                </a:cubicBezTo>
                <a:cubicBezTo>
                  <a:pt x="28" y="65"/>
                  <a:pt x="28" y="65"/>
                  <a:pt x="28" y="65"/>
                </a:cubicBezTo>
                <a:cubicBezTo>
                  <a:pt x="26" y="63"/>
                  <a:pt x="22" y="64"/>
                  <a:pt x="20" y="66"/>
                </a:cubicBezTo>
                <a:cubicBezTo>
                  <a:pt x="17" y="69"/>
                  <a:pt x="17" y="69"/>
                  <a:pt x="17" y="69"/>
                </a:cubicBezTo>
                <a:cubicBezTo>
                  <a:pt x="15" y="71"/>
                  <a:pt x="15" y="74"/>
                  <a:pt x="18" y="76"/>
                </a:cubicBezTo>
                <a:lnTo>
                  <a:pt x="47" y="104"/>
                </a:lnTo>
                <a:close/>
                <a:moveTo>
                  <a:pt x="80" y="77"/>
                </a:moveTo>
                <a:cubicBezTo>
                  <a:pt x="177" y="169"/>
                  <a:pt x="177" y="169"/>
                  <a:pt x="177" y="169"/>
                </a:cubicBezTo>
                <a:cubicBezTo>
                  <a:pt x="181" y="172"/>
                  <a:pt x="186" y="174"/>
                  <a:pt x="189" y="171"/>
                </a:cubicBezTo>
                <a:cubicBezTo>
                  <a:pt x="193" y="167"/>
                  <a:pt x="193" y="167"/>
                  <a:pt x="193" y="167"/>
                </a:cubicBezTo>
                <a:cubicBezTo>
                  <a:pt x="195" y="164"/>
                  <a:pt x="194" y="159"/>
                  <a:pt x="190" y="156"/>
                </a:cubicBezTo>
                <a:cubicBezTo>
                  <a:pt x="92" y="64"/>
                  <a:pt x="92" y="64"/>
                  <a:pt x="92" y="64"/>
                </a:cubicBezTo>
                <a:lnTo>
                  <a:pt x="80" y="77"/>
                </a:lnTo>
                <a:close/>
                <a:moveTo>
                  <a:pt x="113" y="168"/>
                </a:moveTo>
                <a:cubicBezTo>
                  <a:pt x="113" y="167"/>
                  <a:pt x="112" y="166"/>
                  <a:pt x="111" y="166"/>
                </a:cubicBezTo>
                <a:cubicBezTo>
                  <a:pt x="3" y="166"/>
                  <a:pt x="3" y="166"/>
                  <a:pt x="3" y="166"/>
                </a:cubicBezTo>
                <a:cubicBezTo>
                  <a:pt x="1" y="166"/>
                  <a:pt x="0" y="167"/>
                  <a:pt x="0" y="168"/>
                </a:cubicBezTo>
                <a:cubicBezTo>
                  <a:pt x="0" y="178"/>
                  <a:pt x="0" y="178"/>
                  <a:pt x="0" y="178"/>
                </a:cubicBezTo>
                <a:cubicBezTo>
                  <a:pt x="0" y="179"/>
                  <a:pt x="1" y="180"/>
                  <a:pt x="3" y="180"/>
                </a:cubicBezTo>
                <a:cubicBezTo>
                  <a:pt x="111" y="180"/>
                  <a:pt x="111" y="180"/>
                  <a:pt x="111" y="180"/>
                </a:cubicBezTo>
                <a:cubicBezTo>
                  <a:pt x="112" y="180"/>
                  <a:pt x="113" y="179"/>
                  <a:pt x="113" y="178"/>
                </a:cubicBezTo>
                <a:lnTo>
                  <a:pt x="113" y="168"/>
                </a:lnTo>
                <a:close/>
                <a:moveTo>
                  <a:pt x="25" y="148"/>
                </a:moveTo>
                <a:cubicBezTo>
                  <a:pt x="89" y="148"/>
                  <a:pt x="89" y="148"/>
                  <a:pt x="89" y="148"/>
                </a:cubicBezTo>
                <a:cubicBezTo>
                  <a:pt x="92" y="148"/>
                  <a:pt x="95" y="151"/>
                  <a:pt x="96" y="154"/>
                </a:cubicBezTo>
                <a:cubicBezTo>
                  <a:pt x="96" y="160"/>
                  <a:pt x="96" y="160"/>
                  <a:pt x="96" y="160"/>
                </a:cubicBezTo>
                <a:cubicBezTo>
                  <a:pt x="17" y="160"/>
                  <a:pt x="17" y="160"/>
                  <a:pt x="17" y="160"/>
                </a:cubicBezTo>
                <a:cubicBezTo>
                  <a:pt x="17" y="154"/>
                  <a:pt x="17" y="154"/>
                  <a:pt x="17" y="154"/>
                </a:cubicBezTo>
                <a:cubicBezTo>
                  <a:pt x="18" y="151"/>
                  <a:pt x="21" y="148"/>
                  <a:pt x="25" y="14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grpSp>
        <p:nvGrpSpPr>
          <p:cNvPr id="55" name="Group 5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079689" y="4816099"/>
            <a:ext cx="392703" cy="378745"/>
            <a:chOff x="2185477" y="5525527"/>
            <a:chExt cx="523177" cy="504582"/>
          </a:xfrm>
        </p:grpSpPr>
        <p:sp>
          <p:nvSpPr>
            <p:cNvPr id="56" name="Freeform 33"/>
            <p:cNvSpPr>
              <a:spLocks noChangeAspect="1" noEditPoints="1"/>
            </p:cNvSpPr>
            <p:nvPr/>
          </p:nvSpPr>
          <p:spPr bwMode="auto">
            <a:xfrm>
              <a:off x="2234420" y="5525527"/>
              <a:ext cx="333534" cy="337026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  <p:sp>
          <p:nvSpPr>
            <p:cNvPr id="57" name="Freeform 33"/>
            <p:cNvSpPr>
              <a:spLocks noChangeAspect="1" noEditPoints="1"/>
            </p:cNvSpPr>
            <p:nvPr/>
          </p:nvSpPr>
          <p:spPr bwMode="auto">
            <a:xfrm>
              <a:off x="2536194" y="5733047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  <p:sp>
          <p:nvSpPr>
            <p:cNvPr id="58" name="Freeform 33"/>
            <p:cNvSpPr>
              <a:spLocks noChangeAspect="1" noEditPoints="1"/>
            </p:cNvSpPr>
            <p:nvPr/>
          </p:nvSpPr>
          <p:spPr bwMode="auto">
            <a:xfrm>
              <a:off x="2382756" y="5855842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  <p:sp>
          <p:nvSpPr>
            <p:cNvPr id="59" name="Freeform 33"/>
            <p:cNvSpPr>
              <a:spLocks noChangeAspect="1" noEditPoints="1"/>
            </p:cNvSpPr>
            <p:nvPr/>
          </p:nvSpPr>
          <p:spPr bwMode="auto">
            <a:xfrm>
              <a:off x="2185477" y="5825960"/>
              <a:ext cx="172460" cy="174267"/>
            </a:xfrm>
            <a:custGeom>
              <a:avLst/>
              <a:gdLst>
                <a:gd name="T0" fmla="*/ 423 w 633"/>
                <a:gd name="T1" fmla="*/ 324 h 621"/>
                <a:gd name="T2" fmla="*/ 423 w 633"/>
                <a:gd name="T3" fmla="*/ 324 h 621"/>
                <a:gd name="T4" fmla="*/ 302 w 633"/>
                <a:gd name="T5" fmla="*/ 415 h 621"/>
                <a:gd name="T6" fmla="*/ 209 w 633"/>
                <a:gd name="T7" fmla="*/ 295 h 621"/>
                <a:gd name="T8" fmla="*/ 330 w 633"/>
                <a:gd name="T9" fmla="*/ 205 h 621"/>
                <a:gd name="T10" fmla="*/ 423 w 633"/>
                <a:gd name="T11" fmla="*/ 324 h 621"/>
                <a:gd name="T12" fmla="*/ 604 w 633"/>
                <a:gd name="T13" fmla="*/ 310 h 621"/>
                <a:gd name="T14" fmla="*/ 604 w 633"/>
                <a:gd name="T15" fmla="*/ 310 h 621"/>
                <a:gd name="T16" fmla="*/ 550 w 633"/>
                <a:gd name="T17" fmla="*/ 261 h 621"/>
                <a:gd name="T18" fmla="*/ 562 w 633"/>
                <a:gd name="T19" fmla="*/ 171 h 621"/>
                <a:gd name="T20" fmla="*/ 563 w 633"/>
                <a:gd name="T21" fmla="*/ 170 h 621"/>
                <a:gd name="T22" fmla="*/ 586 w 633"/>
                <a:gd name="T23" fmla="*/ 147 h 621"/>
                <a:gd name="T24" fmla="*/ 547 w 633"/>
                <a:gd name="T25" fmla="*/ 96 h 621"/>
                <a:gd name="T26" fmla="*/ 518 w 633"/>
                <a:gd name="T27" fmla="*/ 111 h 621"/>
                <a:gd name="T28" fmla="*/ 516 w 633"/>
                <a:gd name="T29" fmla="*/ 112 h 621"/>
                <a:gd name="T30" fmla="*/ 398 w 633"/>
                <a:gd name="T31" fmla="*/ 64 h 621"/>
                <a:gd name="T32" fmla="*/ 390 w 633"/>
                <a:gd name="T33" fmla="*/ 35 h 621"/>
                <a:gd name="T34" fmla="*/ 391 w 633"/>
                <a:gd name="T35" fmla="*/ 34 h 621"/>
                <a:gd name="T36" fmla="*/ 390 w 633"/>
                <a:gd name="T37" fmla="*/ 7 h 621"/>
                <a:gd name="T38" fmla="*/ 326 w 633"/>
                <a:gd name="T39" fmla="*/ 0 h 621"/>
                <a:gd name="T40" fmla="*/ 316 w 633"/>
                <a:gd name="T41" fmla="*/ 30 h 621"/>
                <a:gd name="T42" fmla="*/ 316 w 633"/>
                <a:gd name="T43" fmla="*/ 30 h 621"/>
                <a:gd name="T44" fmla="*/ 266 w 633"/>
                <a:gd name="T45" fmla="*/ 80 h 621"/>
                <a:gd name="T46" fmla="*/ 169 w 633"/>
                <a:gd name="T47" fmla="*/ 62 h 621"/>
                <a:gd name="T48" fmla="*/ 167 w 633"/>
                <a:gd name="T49" fmla="*/ 60 h 621"/>
                <a:gd name="T50" fmla="*/ 150 w 633"/>
                <a:gd name="T51" fmla="*/ 45 h 621"/>
                <a:gd name="T52" fmla="*/ 99 w 633"/>
                <a:gd name="T53" fmla="*/ 83 h 621"/>
                <a:gd name="T54" fmla="*/ 114 w 633"/>
                <a:gd name="T55" fmla="*/ 111 h 621"/>
                <a:gd name="T56" fmla="*/ 115 w 633"/>
                <a:gd name="T57" fmla="*/ 114 h 621"/>
                <a:gd name="T58" fmla="*/ 66 w 633"/>
                <a:gd name="T59" fmla="*/ 230 h 621"/>
                <a:gd name="T60" fmla="*/ 29 w 633"/>
                <a:gd name="T61" fmla="*/ 237 h 621"/>
                <a:gd name="T62" fmla="*/ 8 w 633"/>
                <a:gd name="T63" fmla="*/ 237 h 621"/>
                <a:gd name="T64" fmla="*/ 0 w 633"/>
                <a:gd name="T65" fmla="*/ 300 h 621"/>
                <a:gd name="T66" fmla="*/ 26 w 633"/>
                <a:gd name="T67" fmla="*/ 308 h 621"/>
                <a:gd name="T68" fmla="*/ 82 w 633"/>
                <a:gd name="T69" fmla="*/ 359 h 621"/>
                <a:gd name="T70" fmla="*/ 66 w 633"/>
                <a:gd name="T71" fmla="*/ 453 h 621"/>
                <a:gd name="T72" fmla="*/ 46 w 633"/>
                <a:gd name="T73" fmla="*/ 472 h 621"/>
                <a:gd name="T74" fmla="*/ 86 w 633"/>
                <a:gd name="T75" fmla="*/ 523 h 621"/>
                <a:gd name="T76" fmla="*/ 108 w 633"/>
                <a:gd name="T77" fmla="*/ 511 h 621"/>
                <a:gd name="T78" fmla="*/ 109 w 633"/>
                <a:gd name="T79" fmla="*/ 510 h 621"/>
                <a:gd name="T80" fmla="*/ 117 w 633"/>
                <a:gd name="T81" fmla="*/ 507 h 621"/>
                <a:gd name="T82" fmla="*/ 235 w 633"/>
                <a:gd name="T83" fmla="*/ 555 h 621"/>
                <a:gd name="T84" fmla="*/ 242 w 633"/>
                <a:gd name="T85" fmla="*/ 588 h 621"/>
                <a:gd name="T86" fmla="*/ 242 w 633"/>
                <a:gd name="T87" fmla="*/ 588 h 621"/>
                <a:gd name="T88" fmla="*/ 243 w 633"/>
                <a:gd name="T89" fmla="*/ 612 h 621"/>
                <a:gd name="T90" fmla="*/ 307 w 633"/>
                <a:gd name="T91" fmla="*/ 621 h 621"/>
                <a:gd name="T92" fmla="*/ 315 w 633"/>
                <a:gd name="T93" fmla="*/ 596 h 621"/>
                <a:gd name="T94" fmla="*/ 366 w 633"/>
                <a:gd name="T95" fmla="*/ 540 h 621"/>
                <a:gd name="T96" fmla="*/ 461 w 633"/>
                <a:gd name="T97" fmla="*/ 554 h 621"/>
                <a:gd name="T98" fmla="*/ 482 w 633"/>
                <a:gd name="T99" fmla="*/ 574 h 621"/>
                <a:gd name="T100" fmla="*/ 533 w 633"/>
                <a:gd name="T101" fmla="*/ 536 h 621"/>
                <a:gd name="T102" fmla="*/ 518 w 633"/>
                <a:gd name="T103" fmla="*/ 507 h 621"/>
                <a:gd name="T104" fmla="*/ 517 w 633"/>
                <a:gd name="T105" fmla="*/ 506 h 621"/>
                <a:gd name="T106" fmla="*/ 566 w 633"/>
                <a:gd name="T107" fmla="*/ 389 h 621"/>
                <a:gd name="T108" fmla="*/ 598 w 633"/>
                <a:gd name="T109" fmla="*/ 383 h 621"/>
                <a:gd name="T110" fmla="*/ 624 w 633"/>
                <a:gd name="T111" fmla="*/ 382 h 621"/>
                <a:gd name="T112" fmla="*/ 633 w 633"/>
                <a:gd name="T113" fmla="*/ 319 h 621"/>
                <a:gd name="T114" fmla="*/ 604 w 633"/>
                <a:gd name="T115" fmla="*/ 31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3" h="621">
                  <a:moveTo>
                    <a:pt x="423" y="324"/>
                  </a:moveTo>
                  <a:lnTo>
                    <a:pt x="423" y="324"/>
                  </a:lnTo>
                  <a:cubicBezTo>
                    <a:pt x="415" y="382"/>
                    <a:pt x="361" y="422"/>
                    <a:pt x="302" y="415"/>
                  </a:cubicBezTo>
                  <a:cubicBezTo>
                    <a:pt x="243" y="407"/>
                    <a:pt x="201" y="353"/>
                    <a:pt x="209" y="295"/>
                  </a:cubicBezTo>
                  <a:cubicBezTo>
                    <a:pt x="217" y="237"/>
                    <a:pt x="271" y="197"/>
                    <a:pt x="330" y="205"/>
                  </a:cubicBezTo>
                  <a:cubicBezTo>
                    <a:pt x="389" y="212"/>
                    <a:pt x="431" y="266"/>
                    <a:pt x="423" y="324"/>
                  </a:cubicBezTo>
                  <a:close/>
                  <a:moveTo>
                    <a:pt x="604" y="310"/>
                  </a:moveTo>
                  <a:lnTo>
                    <a:pt x="604" y="310"/>
                  </a:lnTo>
                  <a:cubicBezTo>
                    <a:pt x="580" y="302"/>
                    <a:pt x="560" y="285"/>
                    <a:pt x="550" y="261"/>
                  </a:cubicBezTo>
                  <a:cubicBezTo>
                    <a:pt x="537" y="230"/>
                    <a:pt x="543" y="196"/>
                    <a:pt x="562" y="171"/>
                  </a:cubicBezTo>
                  <a:lnTo>
                    <a:pt x="563" y="170"/>
                  </a:lnTo>
                  <a:lnTo>
                    <a:pt x="586" y="147"/>
                  </a:lnTo>
                  <a:lnTo>
                    <a:pt x="547" y="96"/>
                  </a:lnTo>
                  <a:lnTo>
                    <a:pt x="518" y="111"/>
                  </a:lnTo>
                  <a:lnTo>
                    <a:pt x="516" y="112"/>
                  </a:lnTo>
                  <a:cubicBezTo>
                    <a:pt x="470" y="131"/>
                    <a:pt x="417" y="109"/>
                    <a:pt x="398" y="64"/>
                  </a:cubicBezTo>
                  <a:cubicBezTo>
                    <a:pt x="394" y="55"/>
                    <a:pt x="391" y="45"/>
                    <a:pt x="390" y="35"/>
                  </a:cubicBezTo>
                  <a:lnTo>
                    <a:pt x="391" y="34"/>
                  </a:lnTo>
                  <a:lnTo>
                    <a:pt x="390" y="7"/>
                  </a:lnTo>
                  <a:lnTo>
                    <a:pt x="326" y="0"/>
                  </a:lnTo>
                  <a:lnTo>
                    <a:pt x="316" y="30"/>
                  </a:lnTo>
                  <a:lnTo>
                    <a:pt x="316" y="30"/>
                  </a:lnTo>
                  <a:cubicBezTo>
                    <a:pt x="307" y="52"/>
                    <a:pt x="290" y="70"/>
                    <a:pt x="266" y="80"/>
                  </a:cubicBezTo>
                  <a:cubicBezTo>
                    <a:pt x="232" y="94"/>
                    <a:pt x="194" y="86"/>
                    <a:pt x="169" y="62"/>
                  </a:cubicBezTo>
                  <a:lnTo>
                    <a:pt x="167" y="60"/>
                  </a:lnTo>
                  <a:lnTo>
                    <a:pt x="150" y="45"/>
                  </a:lnTo>
                  <a:lnTo>
                    <a:pt x="99" y="83"/>
                  </a:lnTo>
                  <a:lnTo>
                    <a:pt x="114" y="111"/>
                  </a:lnTo>
                  <a:lnTo>
                    <a:pt x="115" y="114"/>
                  </a:lnTo>
                  <a:cubicBezTo>
                    <a:pt x="134" y="159"/>
                    <a:pt x="113" y="211"/>
                    <a:pt x="66" y="230"/>
                  </a:cubicBezTo>
                  <a:cubicBezTo>
                    <a:pt x="54" y="235"/>
                    <a:pt x="43" y="236"/>
                    <a:pt x="29" y="237"/>
                  </a:cubicBezTo>
                  <a:lnTo>
                    <a:pt x="8" y="237"/>
                  </a:lnTo>
                  <a:lnTo>
                    <a:pt x="0" y="300"/>
                  </a:lnTo>
                  <a:lnTo>
                    <a:pt x="26" y="308"/>
                  </a:lnTo>
                  <a:cubicBezTo>
                    <a:pt x="51" y="316"/>
                    <a:pt x="71" y="334"/>
                    <a:pt x="82" y="359"/>
                  </a:cubicBezTo>
                  <a:cubicBezTo>
                    <a:pt x="96" y="392"/>
                    <a:pt x="89" y="428"/>
                    <a:pt x="66" y="453"/>
                  </a:cubicBezTo>
                  <a:lnTo>
                    <a:pt x="46" y="472"/>
                  </a:lnTo>
                  <a:lnTo>
                    <a:pt x="86" y="523"/>
                  </a:lnTo>
                  <a:lnTo>
                    <a:pt x="108" y="511"/>
                  </a:lnTo>
                  <a:lnTo>
                    <a:pt x="109" y="510"/>
                  </a:lnTo>
                  <a:cubicBezTo>
                    <a:pt x="114" y="508"/>
                    <a:pt x="112" y="509"/>
                    <a:pt x="117" y="507"/>
                  </a:cubicBezTo>
                  <a:cubicBezTo>
                    <a:pt x="163" y="488"/>
                    <a:pt x="216" y="509"/>
                    <a:pt x="235" y="555"/>
                  </a:cubicBezTo>
                  <a:cubicBezTo>
                    <a:pt x="240" y="566"/>
                    <a:pt x="242" y="577"/>
                    <a:pt x="242" y="588"/>
                  </a:cubicBezTo>
                  <a:lnTo>
                    <a:pt x="242" y="588"/>
                  </a:lnTo>
                  <a:lnTo>
                    <a:pt x="243" y="612"/>
                  </a:lnTo>
                  <a:lnTo>
                    <a:pt x="307" y="621"/>
                  </a:lnTo>
                  <a:lnTo>
                    <a:pt x="315" y="596"/>
                  </a:lnTo>
                  <a:cubicBezTo>
                    <a:pt x="322" y="572"/>
                    <a:pt x="340" y="550"/>
                    <a:pt x="366" y="540"/>
                  </a:cubicBezTo>
                  <a:cubicBezTo>
                    <a:pt x="399" y="526"/>
                    <a:pt x="435" y="533"/>
                    <a:pt x="461" y="554"/>
                  </a:cubicBezTo>
                  <a:lnTo>
                    <a:pt x="482" y="574"/>
                  </a:lnTo>
                  <a:lnTo>
                    <a:pt x="533" y="536"/>
                  </a:lnTo>
                  <a:lnTo>
                    <a:pt x="518" y="507"/>
                  </a:lnTo>
                  <a:lnTo>
                    <a:pt x="517" y="506"/>
                  </a:lnTo>
                  <a:cubicBezTo>
                    <a:pt x="498" y="460"/>
                    <a:pt x="520" y="408"/>
                    <a:pt x="566" y="389"/>
                  </a:cubicBezTo>
                  <a:cubicBezTo>
                    <a:pt x="576" y="385"/>
                    <a:pt x="587" y="383"/>
                    <a:pt x="598" y="383"/>
                  </a:cubicBezTo>
                  <a:lnTo>
                    <a:pt x="624" y="382"/>
                  </a:lnTo>
                  <a:lnTo>
                    <a:pt x="633" y="319"/>
                  </a:lnTo>
                  <a:lnTo>
                    <a:pt x="604" y="31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</p:grpSp>
      <p:grpSp>
        <p:nvGrpSpPr>
          <p:cNvPr id="28" name="Graphic 4">
            <a:extLst>
              <a:ext uri="{FF2B5EF4-FFF2-40B4-BE49-F238E27FC236}">
                <a16:creationId xmlns:a16="http://schemas.microsoft.com/office/drawing/2014/main" id="{F9CAD4BE-F2B6-41F4-A008-612A1605D7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4057482" y="2181212"/>
            <a:ext cx="551950" cy="552414"/>
            <a:chOff x="905454" y="1885990"/>
            <a:chExt cx="362309" cy="362610"/>
          </a:xfrm>
          <a:solidFill>
            <a:srgbClr val="4F81BD"/>
          </a:solidFill>
        </p:grpSpPr>
        <p:sp>
          <p:nvSpPr>
            <p:cNvPr id="29" name="Graphic 4">
              <a:extLst>
                <a:ext uri="{FF2B5EF4-FFF2-40B4-BE49-F238E27FC236}">
                  <a16:creationId xmlns:a16="http://schemas.microsoft.com/office/drawing/2014/main" id="{0931B474-EBEC-4A15-98D8-588DA0D75316}"/>
                </a:ext>
              </a:extLst>
            </p:cNvPr>
            <p:cNvSpPr/>
            <p:nvPr/>
          </p:nvSpPr>
          <p:spPr>
            <a:xfrm>
              <a:off x="991079" y="1992603"/>
              <a:ext cx="191059" cy="16598"/>
            </a:xfrm>
            <a:custGeom>
              <a:avLst/>
              <a:gdLst>
                <a:gd name="connsiteX0" fmla="*/ 0 w 191059"/>
                <a:gd name="connsiteY0" fmla="*/ 16598 h 16598"/>
                <a:gd name="connsiteX1" fmla="*/ 7668 w 191059"/>
                <a:gd name="connsiteY1" fmla="*/ 16598 h 16598"/>
                <a:gd name="connsiteX2" fmla="*/ 182752 w 191059"/>
                <a:gd name="connsiteY2" fmla="*/ 16598 h 16598"/>
                <a:gd name="connsiteX3" fmla="*/ 191059 w 191059"/>
                <a:gd name="connsiteY3" fmla="*/ 16598 h 16598"/>
                <a:gd name="connsiteX4" fmla="*/ 191059 w 191059"/>
                <a:gd name="connsiteY4" fmla="*/ 0 h 16598"/>
                <a:gd name="connsiteX5" fmla="*/ 0 w 191059"/>
                <a:gd name="connsiteY5" fmla="*/ 0 h 16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1059" h="16598">
                  <a:moveTo>
                    <a:pt x="0" y="16598"/>
                  </a:moveTo>
                  <a:lnTo>
                    <a:pt x="7668" y="16598"/>
                  </a:lnTo>
                  <a:lnTo>
                    <a:pt x="182752" y="16598"/>
                  </a:lnTo>
                  <a:lnTo>
                    <a:pt x="191059" y="16598"/>
                  </a:lnTo>
                  <a:lnTo>
                    <a:pt x="19105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Graphic 4">
              <a:extLst>
                <a:ext uri="{FF2B5EF4-FFF2-40B4-BE49-F238E27FC236}">
                  <a16:creationId xmlns:a16="http://schemas.microsoft.com/office/drawing/2014/main" id="{9BB55826-A56C-48A4-8C85-FAFFFA409D0E}"/>
                </a:ext>
              </a:extLst>
            </p:cNvPr>
            <p:cNvSpPr/>
            <p:nvPr/>
          </p:nvSpPr>
          <p:spPr>
            <a:xfrm>
              <a:off x="1005137" y="2021969"/>
              <a:ext cx="162304" cy="118103"/>
            </a:xfrm>
            <a:custGeom>
              <a:avLst/>
              <a:gdLst>
                <a:gd name="connsiteX0" fmla="*/ 0 w 162304"/>
                <a:gd name="connsiteY0" fmla="*/ 118104 h 118103"/>
                <a:gd name="connsiteX1" fmla="*/ 162304 w 162304"/>
                <a:gd name="connsiteY1" fmla="*/ 118104 h 118103"/>
                <a:gd name="connsiteX2" fmla="*/ 162304 w 162304"/>
                <a:gd name="connsiteY2" fmla="*/ 0 h 118103"/>
                <a:gd name="connsiteX3" fmla="*/ 0 w 162304"/>
                <a:gd name="connsiteY3" fmla="*/ 0 h 118103"/>
                <a:gd name="connsiteX4" fmla="*/ 0 w 162304"/>
                <a:gd name="connsiteY4" fmla="*/ 118104 h 118103"/>
                <a:gd name="connsiteX5" fmla="*/ 59426 w 162304"/>
                <a:gd name="connsiteY5" fmla="*/ 23621 h 118103"/>
                <a:gd name="connsiteX6" fmla="*/ 103517 w 162304"/>
                <a:gd name="connsiteY6" fmla="*/ 23621 h 118103"/>
                <a:gd name="connsiteX7" fmla="*/ 109907 w 162304"/>
                <a:gd name="connsiteY7" fmla="*/ 30005 h 118103"/>
                <a:gd name="connsiteX8" fmla="*/ 103517 w 162304"/>
                <a:gd name="connsiteY8" fmla="*/ 36389 h 118103"/>
                <a:gd name="connsiteX9" fmla="*/ 59426 w 162304"/>
                <a:gd name="connsiteY9" fmla="*/ 36389 h 118103"/>
                <a:gd name="connsiteX10" fmla="*/ 53036 w 162304"/>
                <a:gd name="connsiteY10" fmla="*/ 30005 h 118103"/>
                <a:gd name="connsiteX11" fmla="*/ 59426 w 162304"/>
                <a:gd name="connsiteY11" fmla="*/ 23621 h 118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2304" h="118103">
                  <a:moveTo>
                    <a:pt x="0" y="118104"/>
                  </a:moveTo>
                  <a:lnTo>
                    <a:pt x="162304" y="118104"/>
                  </a:lnTo>
                  <a:lnTo>
                    <a:pt x="162304" y="0"/>
                  </a:lnTo>
                  <a:lnTo>
                    <a:pt x="0" y="0"/>
                  </a:lnTo>
                  <a:lnTo>
                    <a:pt x="0" y="118104"/>
                  </a:lnTo>
                  <a:close/>
                  <a:moveTo>
                    <a:pt x="59426" y="23621"/>
                  </a:moveTo>
                  <a:lnTo>
                    <a:pt x="103517" y="23621"/>
                  </a:lnTo>
                  <a:cubicBezTo>
                    <a:pt x="107351" y="23621"/>
                    <a:pt x="109907" y="26174"/>
                    <a:pt x="109907" y="30005"/>
                  </a:cubicBezTo>
                  <a:cubicBezTo>
                    <a:pt x="109907" y="33835"/>
                    <a:pt x="107351" y="36389"/>
                    <a:pt x="103517" y="36389"/>
                  </a:cubicBezTo>
                  <a:lnTo>
                    <a:pt x="59426" y="36389"/>
                  </a:lnTo>
                  <a:cubicBezTo>
                    <a:pt x="55592" y="36389"/>
                    <a:pt x="53036" y="33835"/>
                    <a:pt x="53036" y="30005"/>
                  </a:cubicBezTo>
                  <a:cubicBezTo>
                    <a:pt x="53036" y="26174"/>
                    <a:pt x="56231" y="23621"/>
                    <a:pt x="59426" y="23621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Graphic 4">
              <a:extLst>
                <a:ext uri="{FF2B5EF4-FFF2-40B4-BE49-F238E27FC236}">
                  <a16:creationId xmlns:a16="http://schemas.microsoft.com/office/drawing/2014/main" id="{647AA6D6-FA7A-4636-B13E-1EE741787902}"/>
                </a:ext>
              </a:extLst>
            </p:cNvPr>
            <p:cNvSpPr/>
            <p:nvPr/>
          </p:nvSpPr>
          <p:spPr>
            <a:xfrm>
              <a:off x="905454" y="1885990"/>
              <a:ext cx="362309" cy="362610"/>
            </a:xfrm>
            <a:custGeom>
              <a:avLst/>
              <a:gdLst>
                <a:gd name="connsiteX0" fmla="*/ 180835 w 362309"/>
                <a:gd name="connsiteY0" fmla="*/ 0 h 362610"/>
                <a:gd name="connsiteX1" fmla="*/ 0 w 362309"/>
                <a:gd name="connsiteY1" fmla="*/ 181305 h 362610"/>
                <a:gd name="connsiteX2" fmla="*/ 180835 w 362309"/>
                <a:gd name="connsiteY2" fmla="*/ 362610 h 362610"/>
                <a:gd name="connsiteX3" fmla="*/ 362309 w 362309"/>
                <a:gd name="connsiteY3" fmla="*/ 181305 h 362610"/>
                <a:gd name="connsiteX4" fmla="*/ 180835 w 362309"/>
                <a:gd name="connsiteY4" fmla="*/ 0 h 362610"/>
                <a:gd name="connsiteX5" fmla="*/ 180835 w 362309"/>
                <a:gd name="connsiteY5" fmla="*/ 0 h 362610"/>
                <a:gd name="connsiteX6" fmla="*/ 289464 w 362309"/>
                <a:gd name="connsiteY6" fmla="*/ 129595 h 362610"/>
                <a:gd name="connsiteX7" fmla="*/ 283074 w 362309"/>
                <a:gd name="connsiteY7" fmla="*/ 135979 h 362610"/>
                <a:gd name="connsiteX8" fmla="*/ 274767 w 362309"/>
                <a:gd name="connsiteY8" fmla="*/ 135979 h 362610"/>
                <a:gd name="connsiteX9" fmla="*/ 274767 w 362309"/>
                <a:gd name="connsiteY9" fmla="*/ 260467 h 362610"/>
                <a:gd name="connsiteX10" fmla="*/ 268377 w 362309"/>
                <a:gd name="connsiteY10" fmla="*/ 266851 h 362610"/>
                <a:gd name="connsiteX11" fmla="*/ 93293 w 362309"/>
                <a:gd name="connsiteY11" fmla="*/ 266851 h 362610"/>
                <a:gd name="connsiteX12" fmla="*/ 86903 w 362309"/>
                <a:gd name="connsiteY12" fmla="*/ 260467 h 362610"/>
                <a:gd name="connsiteX13" fmla="*/ 86903 w 362309"/>
                <a:gd name="connsiteY13" fmla="*/ 135979 h 362610"/>
                <a:gd name="connsiteX14" fmla="*/ 78596 w 362309"/>
                <a:gd name="connsiteY14" fmla="*/ 135979 h 362610"/>
                <a:gd name="connsiteX15" fmla="*/ 72206 w 362309"/>
                <a:gd name="connsiteY15" fmla="*/ 129595 h 362610"/>
                <a:gd name="connsiteX16" fmla="*/ 72206 w 362309"/>
                <a:gd name="connsiteY16" fmla="*/ 100229 h 362610"/>
                <a:gd name="connsiteX17" fmla="*/ 78596 w 362309"/>
                <a:gd name="connsiteY17" fmla="*/ 93845 h 362610"/>
                <a:gd name="connsiteX18" fmla="*/ 283074 w 362309"/>
                <a:gd name="connsiteY18" fmla="*/ 93845 h 362610"/>
                <a:gd name="connsiteX19" fmla="*/ 289464 w 362309"/>
                <a:gd name="connsiteY19" fmla="*/ 100229 h 362610"/>
                <a:gd name="connsiteX20" fmla="*/ 289464 w 362309"/>
                <a:gd name="connsiteY20" fmla="*/ 129595 h 362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62309" h="362610">
                  <a:moveTo>
                    <a:pt x="180835" y="0"/>
                  </a:moveTo>
                  <a:cubicBezTo>
                    <a:pt x="80513" y="0"/>
                    <a:pt x="0" y="81077"/>
                    <a:pt x="0" y="181305"/>
                  </a:cubicBezTo>
                  <a:cubicBezTo>
                    <a:pt x="0" y="281534"/>
                    <a:pt x="81152" y="362610"/>
                    <a:pt x="180835" y="362610"/>
                  </a:cubicBezTo>
                  <a:cubicBezTo>
                    <a:pt x="280518" y="362610"/>
                    <a:pt x="362309" y="281534"/>
                    <a:pt x="362309" y="181305"/>
                  </a:cubicBezTo>
                  <a:cubicBezTo>
                    <a:pt x="362309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  <a:close/>
                  <a:moveTo>
                    <a:pt x="289464" y="129595"/>
                  </a:moveTo>
                  <a:cubicBezTo>
                    <a:pt x="289464" y="133425"/>
                    <a:pt x="286908" y="135979"/>
                    <a:pt x="283074" y="135979"/>
                  </a:cubicBezTo>
                  <a:lnTo>
                    <a:pt x="274767" y="135979"/>
                  </a:lnTo>
                  <a:lnTo>
                    <a:pt x="274767" y="260467"/>
                  </a:lnTo>
                  <a:cubicBezTo>
                    <a:pt x="274767" y="264297"/>
                    <a:pt x="272211" y="266851"/>
                    <a:pt x="268377" y="266851"/>
                  </a:cubicBezTo>
                  <a:lnTo>
                    <a:pt x="93293" y="266851"/>
                  </a:lnTo>
                  <a:cubicBezTo>
                    <a:pt x="89459" y="266851"/>
                    <a:pt x="86903" y="264297"/>
                    <a:pt x="86903" y="260467"/>
                  </a:cubicBezTo>
                  <a:lnTo>
                    <a:pt x="86903" y="135979"/>
                  </a:lnTo>
                  <a:lnTo>
                    <a:pt x="78596" y="135979"/>
                  </a:lnTo>
                  <a:cubicBezTo>
                    <a:pt x="74762" y="135979"/>
                    <a:pt x="72206" y="133425"/>
                    <a:pt x="72206" y="129595"/>
                  </a:cubicBezTo>
                  <a:lnTo>
                    <a:pt x="72206" y="100229"/>
                  </a:lnTo>
                  <a:cubicBezTo>
                    <a:pt x="72206" y="96398"/>
                    <a:pt x="74762" y="93845"/>
                    <a:pt x="78596" y="93845"/>
                  </a:cubicBezTo>
                  <a:lnTo>
                    <a:pt x="283074" y="93845"/>
                  </a:lnTo>
                  <a:cubicBezTo>
                    <a:pt x="286908" y="93845"/>
                    <a:pt x="289464" y="96398"/>
                    <a:pt x="289464" y="100229"/>
                  </a:cubicBezTo>
                  <a:lnTo>
                    <a:pt x="289464" y="12959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2" name="Graphic 1100">
            <a:extLst>
              <a:ext uri="{FF2B5EF4-FFF2-40B4-BE49-F238E27FC236}">
                <a16:creationId xmlns:a16="http://schemas.microsoft.com/office/drawing/2014/main" id="{57848587-E153-4C5C-BA00-B4E1DD9223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998341" y="4707586"/>
            <a:ext cx="551952" cy="551439"/>
            <a:chOff x="6147119" y="3828162"/>
            <a:chExt cx="362309" cy="361971"/>
          </a:xfrm>
          <a:solidFill>
            <a:srgbClr val="4BACC6"/>
          </a:solidFill>
        </p:grpSpPr>
        <p:sp>
          <p:nvSpPr>
            <p:cNvPr id="33" name="Graphic 1100">
              <a:extLst>
                <a:ext uri="{FF2B5EF4-FFF2-40B4-BE49-F238E27FC236}">
                  <a16:creationId xmlns:a16="http://schemas.microsoft.com/office/drawing/2014/main" id="{2BD5F304-7CC9-458E-86B8-C805C40A3F69}"/>
                </a:ext>
              </a:extLst>
            </p:cNvPr>
            <p:cNvSpPr/>
            <p:nvPr/>
          </p:nvSpPr>
          <p:spPr>
            <a:xfrm>
              <a:off x="6336261" y="3993507"/>
              <a:ext cx="77957" cy="77884"/>
            </a:xfrm>
            <a:custGeom>
              <a:avLst/>
              <a:gdLst>
                <a:gd name="connsiteX0" fmla="*/ 38979 w 77957"/>
                <a:gd name="connsiteY0" fmla="*/ 0 h 77884"/>
                <a:gd name="connsiteX1" fmla="*/ 0 w 77957"/>
                <a:gd name="connsiteY1" fmla="*/ 38943 h 77884"/>
                <a:gd name="connsiteX2" fmla="*/ 38979 w 77957"/>
                <a:gd name="connsiteY2" fmla="*/ 77885 h 77884"/>
                <a:gd name="connsiteX3" fmla="*/ 77957 w 77957"/>
                <a:gd name="connsiteY3" fmla="*/ 38943 h 77884"/>
                <a:gd name="connsiteX4" fmla="*/ 77957 w 77957"/>
                <a:gd name="connsiteY4" fmla="*/ 38943 h 77884"/>
                <a:gd name="connsiteX5" fmla="*/ 38979 w 77957"/>
                <a:gd name="connsiteY5" fmla="*/ 0 h 77884"/>
                <a:gd name="connsiteX6" fmla="*/ 64539 w 77957"/>
                <a:gd name="connsiteY6" fmla="*/ 26175 h 77884"/>
                <a:gd name="connsiteX7" fmla="*/ 33867 w 77957"/>
                <a:gd name="connsiteY7" fmla="*/ 58094 h 77884"/>
                <a:gd name="connsiteX8" fmla="*/ 29394 w 77957"/>
                <a:gd name="connsiteY8" fmla="*/ 60010 h 77884"/>
                <a:gd name="connsiteX9" fmla="*/ 24921 w 77957"/>
                <a:gd name="connsiteY9" fmla="*/ 58094 h 77884"/>
                <a:gd name="connsiteX10" fmla="*/ 13419 w 77957"/>
                <a:gd name="connsiteY10" fmla="*/ 46603 h 77884"/>
                <a:gd name="connsiteX11" fmla="*/ 14058 w 77957"/>
                <a:gd name="connsiteY11" fmla="*/ 37666 h 77884"/>
                <a:gd name="connsiteX12" fmla="*/ 22365 w 77957"/>
                <a:gd name="connsiteY12" fmla="*/ 37666 h 77884"/>
                <a:gd name="connsiteX13" fmla="*/ 29394 w 77957"/>
                <a:gd name="connsiteY13" fmla="*/ 44688 h 77884"/>
                <a:gd name="connsiteX14" fmla="*/ 55593 w 77957"/>
                <a:gd name="connsiteY14" fmla="*/ 17875 h 77884"/>
                <a:gd name="connsiteX15" fmla="*/ 64539 w 77957"/>
                <a:gd name="connsiteY15" fmla="*/ 17875 h 77884"/>
                <a:gd name="connsiteX16" fmla="*/ 64539 w 77957"/>
                <a:gd name="connsiteY16" fmla="*/ 26175 h 77884"/>
                <a:gd name="connsiteX17" fmla="*/ 64539 w 77957"/>
                <a:gd name="connsiteY17" fmla="*/ 26175 h 77884"/>
                <a:gd name="connsiteX18" fmla="*/ 64539 w 77957"/>
                <a:gd name="connsiteY18" fmla="*/ 26175 h 77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7957" h="77884">
                  <a:moveTo>
                    <a:pt x="38979" y="0"/>
                  </a:moveTo>
                  <a:cubicBezTo>
                    <a:pt x="17253" y="0"/>
                    <a:pt x="0" y="17237"/>
                    <a:pt x="0" y="38943"/>
                  </a:cubicBezTo>
                  <a:cubicBezTo>
                    <a:pt x="0" y="60648"/>
                    <a:pt x="17253" y="77885"/>
                    <a:pt x="38979" y="77885"/>
                  </a:cubicBezTo>
                  <a:cubicBezTo>
                    <a:pt x="60704" y="77885"/>
                    <a:pt x="77957" y="60648"/>
                    <a:pt x="77957" y="38943"/>
                  </a:cubicBezTo>
                  <a:cubicBezTo>
                    <a:pt x="77957" y="38943"/>
                    <a:pt x="77957" y="38943"/>
                    <a:pt x="77957" y="38943"/>
                  </a:cubicBezTo>
                  <a:cubicBezTo>
                    <a:pt x="77957" y="17237"/>
                    <a:pt x="60704" y="0"/>
                    <a:pt x="38979" y="0"/>
                  </a:cubicBezTo>
                  <a:close/>
                  <a:moveTo>
                    <a:pt x="64539" y="26175"/>
                  </a:moveTo>
                  <a:lnTo>
                    <a:pt x="33867" y="58094"/>
                  </a:lnTo>
                  <a:cubicBezTo>
                    <a:pt x="32589" y="59371"/>
                    <a:pt x="31311" y="60010"/>
                    <a:pt x="29394" y="60010"/>
                  </a:cubicBezTo>
                  <a:cubicBezTo>
                    <a:pt x="27477" y="60010"/>
                    <a:pt x="26199" y="59371"/>
                    <a:pt x="24921" y="58094"/>
                  </a:cubicBezTo>
                  <a:lnTo>
                    <a:pt x="13419" y="46603"/>
                  </a:lnTo>
                  <a:cubicBezTo>
                    <a:pt x="10863" y="44050"/>
                    <a:pt x="11502" y="39581"/>
                    <a:pt x="14058" y="37666"/>
                  </a:cubicBezTo>
                  <a:cubicBezTo>
                    <a:pt x="16614" y="35751"/>
                    <a:pt x="19809" y="35751"/>
                    <a:pt x="22365" y="37666"/>
                  </a:cubicBezTo>
                  <a:lnTo>
                    <a:pt x="29394" y="44688"/>
                  </a:lnTo>
                  <a:lnTo>
                    <a:pt x="55593" y="17875"/>
                  </a:lnTo>
                  <a:cubicBezTo>
                    <a:pt x="58149" y="15322"/>
                    <a:pt x="61982" y="15322"/>
                    <a:pt x="64539" y="17875"/>
                  </a:cubicBezTo>
                  <a:cubicBezTo>
                    <a:pt x="67094" y="19791"/>
                    <a:pt x="67094" y="23621"/>
                    <a:pt x="64539" y="26175"/>
                  </a:cubicBezTo>
                  <a:lnTo>
                    <a:pt x="64539" y="26175"/>
                  </a:lnTo>
                  <a:lnTo>
                    <a:pt x="64539" y="26175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Graphic 1100">
              <a:extLst>
                <a:ext uri="{FF2B5EF4-FFF2-40B4-BE49-F238E27FC236}">
                  <a16:creationId xmlns:a16="http://schemas.microsoft.com/office/drawing/2014/main" id="{ADC98A5B-8B0E-4F4D-B190-9305C6685D85}"/>
                </a:ext>
              </a:extLst>
            </p:cNvPr>
            <p:cNvSpPr/>
            <p:nvPr/>
          </p:nvSpPr>
          <p:spPr>
            <a:xfrm>
              <a:off x="6359904" y="3921368"/>
              <a:ext cx="21725" cy="21705"/>
            </a:xfrm>
            <a:custGeom>
              <a:avLst/>
              <a:gdLst>
                <a:gd name="connsiteX0" fmla="*/ 0 w 21725"/>
                <a:gd name="connsiteY0" fmla="*/ 0 h 21705"/>
                <a:gd name="connsiteX1" fmla="*/ 0 w 21725"/>
                <a:gd name="connsiteY1" fmla="*/ 21706 h 21705"/>
                <a:gd name="connsiteX2" fmla="*/ 21726 w 21725"/>
                <a:gd name="connsiteY2" fmla="*/ 21706 h 21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725" h="21705">
                  <a:moveTo>
                    <a:pt x="0" y="0"/>
                  </a:moveTo>
                  <a:lnTo>
                    <a:pt x="0" y="21706"/>
                  </a:lnTo>
                  <a:lnTo>
                    <a:pt x="21726" y="2170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Graphic 1100">
              <a:extLst>
                <a:ext uri="{FF2B5EF4-FFF2-40B4-BE49-F238E27FC236}">
                  <a16:creationId xmlns:a16="http://schemas.microsoft.com/office/drawing/2014/main" id="{7D8540BF-ABD7-4528-90DF-457440A0F5A3}"/>
                </a:ext>
              </a:extLst>
            </p:cNvPr>
            <p:cNvSpPr/>
            <p:nvPr/>
          </p:nvSpPr>
          <p:spPr>
            <a:xfrm>
              <a:off x="6147119" y="3828162"/>
              <a:ext cx="362309" cy="361971"/>
            </a:xfrm>
            <a:custGeom>
              <a:avLst/>
              <a:gdLst>
                <a:gd name="connsiteX0" fmla="*/ 181474 w 362309"/>
                <a:gd name="connsiteY0" fmla="*/ 0 h 361971"/>
                <a:gd name="connsiteX1" fmla="*/ 0 w 362309"/>
                <a:gd name="connsiteY1" fmla="*/ 180667 h 361971"/>
                <a:gd name="connsiteX2" fmla="*/ 180835 w 362309"/>
                <a:gd name="connsiteY2" fmla="*/ 361971 h 361971"/>
                <a:gd name="connsiteX3" fmla="*/ 362310 w 362309"/>
                <a:gd name="connsiteY3" fmla="*/ 181305 h 361971"/>
                <a:gd name="connsiteX4" fmla="*/ 362310 w 362309"/>
                <a:gd name="connsiteY4" fmla="*/ 181305 h 361971"/>
                <a:gd name="connsiteX5" fmla="*/ 181474 w 362309"/>
                <a:gd name="connsiteY5" fmla="*/ 0 h 361971"/>
                <a:gd name="connsiteX6" fmla="*/ 256236 w 362309"/>
                <a:gd name="connsiteY6" fmla="*/ 284087 h 361971"/>
                <a:gd name="connsiteX7" fmla="*/ 249846 w 362309"/>
                <a:gd name="connsiteY7" fmla="*/ 290471 h 361971"/>
                <a:gd name="connsiteX8" fmla="*/ 102239 w 362309"/>
                <a:gd name="connsiteY8" fmla="*/ 290471 h 361971"/>
                <a:gd name="connsiteX9" fmla="*/ 95849 w 362309"/>
                <a:gd name="connsiteY9" fmla="*/ 284087 h 361971"/>
                <a:gd name="connsiteX10" fmla="*/ 95849 w 362309"/>
                <a:gd name="connsiteY10" fmla="*/ 77884 h 361971"/>
                <a:gd name="connsiteX11" fmla="*/ 102239 w 362309"/>
                <a:gd name="connsiteY11" fmla="*/ 71500 h 361971"/>
                <a:gd name="connsiteX12" fmla="*/ 207034 w 362309"/>
                <a:gd name="connsiteY12" fmla="*/ 71500 h 361971"/>
                <a:gd name="connsiteX13" fmla="*/ 208951 w 362309"/>
                <a:gd name="connsiteY13" fmla="*/ 72139 h 361971"/>
                <a:gd name="connsiteX14" fmla="*/ 210868 w 362309"/>
                <a:gd name="connsiteY14" fmla="*/ 73416 h 361971"/>
                <a:gd name="connsiteX15" fmla="*/ 254319 w 362309"/>
                <a:gd name="connsiteY15" fmla="*/ 116827 h 361971"/>
                <a:gd name="connsiteX16" fmla="*/ 255597 w 362309"/>
                <a:gd name="connsiteY16" fmla="*/ 118742 h 361971"/>
                <a:gd name="connsiteX17" fmla="*/ 256236 w 362309"/>
                <a:gd name="connsiteY17" fmla="*/ 121296 h 361971"/>
                <a:gd name="connsiteX18" fmla="*/ 256236 w 362309"/>
                <a:gd name="connsiteY18" fmla="*/ 143001 h 361971"/>
                <a:gd name="connsiteX19" fmla="*/ 249846 w 362309"/>
                <a:gd name="connsiteY19" fmla="*/ 149385 h 361971"/>
                <a:gd name="connsiteX20" fmla="*/ 243456 w 362309"/>
                <a:gd name="connsiteY20" fmla="*/ 143001 h 361971"/>
                <a:gd name="connsiteX21" fmla="*/ 243456 w 362309"/>
                <a:gd name="connsiteY21" fmla="*/ 127680 h 361971"/>
                <a:gd name="connsiteX22" fmla="*/ 206395 w 362309"/>
                <a:gd name="connsiteY22" fmla="*/ 127680 h 361971"/>
                <a:gd name="connsiteX23" fmla="*/ 200005 w 362309"/>
                <a:gd name="connsiteY23" fmla="*/ 121296 h 361971"/>
                <a:gd name="connsiteX24" fmla="*/ 200005 w 362309"/>
                <a:gd name="connsiteY24" fmla="*/ 84268 h 361971"/>
                <a:gd name="connsiteX25" fmla="*/ 108629 w 362309"/>
                <a:gd name="connsiteY25" fmla="*/ 84268 h 361971"/>
                <a:gd name="connsiteX26" fmla="*/ 108629 w 362309"/>
                <a:gd name="connsiteY26" fmla="*/ 277703 h 361971"/>
                <a:gd name="connsiteX27" fmla="*/ 243456 w 362309"/>
                <a:gd name="connsiteY27" fmla="*/ 277703 h 361971"/>
                <a:gd name="connsiteX28" fmla="*/ 243456 w 362309"/>
                <a:gd name="connsiteY28" fmla="*/ 264297 h 361971"/>
                <a:gd name="connsiteX29" fmla="*/ 249846 w 362309"/>
                <a:gd name="connsiteY29" fmla="*/ 257913 h 361971"/>
                <a:gd name="connsiteX30" fmla="*/ 256236 w 362309"/>
                <a:gd name="connsiteY30" fmla="*/ 264297 h 361971"/>
                <a:gd name="connsiteX31" fmla="*/ 256236 w 362309"/>
                <a:gd name="connsiteY31" fmla="*/ 284087 h 361971"/>
                <a:gd name="connsiteX32" fmla="*/ 228121 w 362309"/>
                <a:gd name="connsiteY32" fmla="*/ 255359 h 361971"/>
                <a:gd name="connsiteX33" fmla="*/ 228121 w 362309"/>
                <a:gd name="connsiteY33" fmla="*/ 255359 h 361971"/>
                <a:gd name="connsiteX34" fmla="*/ 224926 w 362309"/>
                <a:gd name="connsiteY34" fmla="*/ 255998 h 361971"/>
                <a:gd name="connsiteX35" fmla="*/ 130355 w 362309"/>
                <a:gd name="connsiteY35" fmla="*/ 255998 h 361971"/>
                <a:gd name="connsiteX36" fmla="*/ 123965 w 362309"/>
                <a:gd name="connsiteY36" fmla="*/ 249614 h 361971"/>
                <a:gd name="connsiteX37" fmla="*/ 130355 w 362309"/>
                <a:gd name="connsiteY37" fmla="*/ 243230 h 361971"/>
                <a:gd name="connsiteX38" fmla="*/ 194893 w 362309"/>
                <a:gd name="connsiteY38" fmla="*/ 243230 h 361971"/>
                <a:gd name="connsiteX39" fmla="*/ 182113 w 362309"/>
                <a:gd name="connsiteY39" fmla="*/ 225993 h 361971"/>
                <a:gd name="connsiteX40" fmla="*/ 130355 w 362309"/>
                <a:gd name="connsiteY40" fmla="*/ 225993 h 361971"/>
                <a:gd name="connsiteX41" fmla="*/ 123965 w 362309"/>
                <a:gd name="connsiteY41" fmla="*/ 219609 h 361971"/>
                <a:gd name="connsiteX42" fmla="*/ 130355 w 362309"/>
                <a:gd name="connsiteY42" fmla="*/ 213225 h 361971"/>
                <a:gd name="connsiteX43" fmla="*/ 177640 w 362309"/>
                <a:gd name="connsiteY43" fmla="*/ 213225 h 361971"/>
                <a:gd name="connsiteX44" fmla="*/ 177001 w 362309"/>
                <a:gd name="connsiteY44" fmla="*/ 203649 h 361971"/>
                <a:gd name="connsiteX45" fmla="*/ 177640 w 362309"/>
                <a:gd name="connsiteY45" fmla="*/ 195988 h 361971"/>
                <a:gd name="connsiteX46" fmla="*/ 130994 w 362309"/>
                <a:gd name="connsiteY46" fmla="*/ 195988 h 361971"/>
                <a:gd name="connsiteX47" fmla="*/ 124604 w 362309"/>
                <a:gd name="connsiteY47" fmla="*/ 189604 h 361971"/>
                <a:gd name="connsiteX48" fmla="*/ 130994 w 362309"/>
                <a:gd name="connsiteY48" fmla="*/ 183220 h 361971"/>
                <a:gd name="connsiteX49" fmla="*/ 181474 w 362309"/>
                <a:gd name="connsiteY49" fmla="*/ 183220 h 361971"/>
                <a:gd name="connsiteX50" fmla="*/ 192976 w 362309"/>
                <a:gd name="connsiteY50" fmla="*/ 166622 h 361971"/>
                <a:gd name="connsiteX51" fmla="*/ 130994 w 362309"/>
                <a:gd name="connsiteY51" fmla="*/ 166622 h 361971"/>
                <a:gd name="connsiteX52" fmla="*/ 124604 w 362309"/>
                <a:gd name="connsiteY52" fmla="*/ 160238 h 361971"/>
                <a:gd name="connsiteX53" fmla="*/ 130994 w 362309"/>
                <a:gd name="connsiteY53" fmla="*/ 153854 h 361971"/>
                <a:gd name="connsiteX54" fmla="*/ 213424 w 362309"/>
                <a:gd name="connsiteY54" fmla="*/ 153854 h 361971"/>
                <a:gd name="connsiteX55" fmla="*/ 214063 w 362309"/>
                <a:gd name="connsiteY55" fmla="*/ 153854 h 361971"/>
                <a:gd name="connsiteX56" fmla="*/ 228760 w 362309"/>
                <a:gd name="connsiteY56" fmla="*/ 151939 h 361971"/>
                <a:gd name="connsiteX57" fmla="*/ 278601 w 362309"/>
                <a:gd name="connsiteY57" fmla="*/ 205564 h 361971"/>
                <a:gd name="connsiteX58" fmla="*/ 228121 w 362309"/>
                <a:gd name="connsiteY58" fmla="*/ 255359 h 361971"/>
                <a:gd name="connsiteX59" fmla="*/ 228121 w 362309"/>
                <a:gd name="connsiteY59" fmla="*/ 255359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62309" h="361971">
                  <a:moveTo>
                    <a:pt x="181474" y="0"/>
                  </a:moveTo>
                  <a:cubicBezTo>
                    <a:pt x="81152" y="0"/>
                    <a:pt x="0" y="81076"/>
                    <a:pt x="0" y="180667"/>
                  </a:cubicBezTo>
                  <a:cubicBezTo>
                    <a:pt x="0" y="280257"/>
                    <a:pt x="81152" y="361971"/>
                    <a:pt x="180835" y="361971"/>
                  </a:cubicBezTo>
                  <a:cubicBezTo>
                    <a:pt x="280518" y="361971"/>
                    <a:pt x="362310" y="280895"/>
                    <a:pt x="362310" y="181305"/>
                  </a:cubicBezTo>
                  <a:cubicBezTo>
                    <a:pt x="362310" y="181305"/>
                    <a:pt x="362310" y="181305"/>
                    <a:pt x="362310" y="181305"/>
                  </a:cubicBezTo>
                  <a:cubicBezTo>
                    <a:pt x="362310" y="81076"/>
                    <a:pt x="281157" y="0"/>
                    <a:pt x="181474" y="0"/>
                  </a:cubicBezTo>
                  <a:close/>
                  <a:moveTo>
                    <a:pt x="256236" y="284087"/>
                  </a:moveTo>
                  <a:cubicBezTo>
                    <a:pt x="256236" y="287917"/>
                    <a:pt x="253681" y="290471"/>
                    <a:pt x="249846" y="290471"/>
                  </a:cubicBezTo>
                  <a:lnTo>
                    <a:pt x="102239" y="290471"/>
                  </a:lnTo>
                  <a:cubicBezTo>
                    <a:pt x="98405" y="290471"/>
                    <a:pt x="95849" y="287917"/>
                    <a:pt x="95849" y="284087"/>
                  </a:cubicBezTo>
                  <a:lnTo>
                    <a:pt x="95849" y="77884"/>
                  </a:lnTo>
                  <a:cubicBezTo>
                    <a:pt x="95849" y="74054"/>
                    <a:pt x="98405" y="71500"/>
                    <a:pt x="102239" y="71500"/>
                  </a:cubicBezTo>
                  <a:lnTo>
                    <a:pt x="207034" y="71500"/>
                  </a:lnTo>
                  <a:cubicBezTo>
                    <a:pt x="207673" y="71500"/>
                    <a:pt x="208312" y="71500"/>
                    <a:pt x="208951" y="72139"/>
                  </a:cubicBezTo>
                  <a:cubicBezTo>
                    <a:pt x="209590" y="72777"/>
                    <a:pt x="210229" y="72777"/>
                    <a:pt x="210868" y="73416"/>
                  </a:cubicBezTo>
                  <a:lnTo>
                    <a:pt x="254319" y="116827"/>
                  </a:lnTo>
                  <a:cubicBezTo>
                    <a:pt x="254959" y="117465"/>
                    <a:pt x="255597" y="118104"/>
                    <a:pt x="255597" y="118742"/>
                  </a:cubicBezTo>
                  <a:cubicBezTo>
                    <a:pt x="256236" y="119380"/>
                    <a:pt x="256236" y="120657"/>
                    <a:pt x="256236" y="121296"/>
                  </a:cubicBezTo>
                  <a:lnTo>
                    <a:pt x="256236" y="143001"/>
                  </a:lnTo>
                  <a:cubicBezTo>
                    <a:pt x="256236" y="146832"/>
                    <a:pt x="253681" y="149385"/>
                    <a:pt x="249846" y="149385"/>
                  </a:cubicBezTo>
                  <a:cubicBezTo>
                    <a:pt x="246013" y="149385"/>
                    <a:pt x="243456" y="146832"/>
                    <a:pt x="243456" y="143001"/>
                  </a:cubicBezTo>
                  <a:lnTo>
                    <a:pt x="243456" y="127680"/>
                  </a:lnTo>
                  <a:lnTo>
                    <a:pt x="206395" y="127680"/>
                  </a:lnTo>
                  <a:cubicBezTo>
                    <a:pt x="202561" y="127680"/>
                    <a:pt x="200005" y="125126"/>
                    <a:pt x="200005" y="121296"/>
                  </a:cubicBezTo>
                  <a:lnTo>
                    <a:pt x="200005" y="84268"/>
                  </a:lnTo>
                  <a:lnTo>
                    <a:pt x="108629" y="84268"/>
                  </a:lnTo>
                  <a:lnTo>
                    <a:pt x="108629" y="277703"/>
                  </a:lnTo>
                  <a:lnTo>
                    <a:pt x="243456" y="277703"/>
                  </a:lnTo>
                  <a:lnTo>
                    <a:pt x="243456" y="264297"/>
                  </a:lnTo>
                  <a:cubicBezTo>
                    <a:pt x="243456" y="260466"/>
                    <a:pt x="246013" y="257913"/>
                    <a:pt x="249846" y="257913"/>
                  </a:cubicBezTo>
                  <a:cubicBezTo>
                    <a:pt x="253681" y="257913"/>
                    <a:pt x="256236" y="260466"/>
                    <a:pt x="256236" y="264297"/>
                  </a:cubicBezTo>
                  <a:lnTo>
                    <a:pt x="256236" y="284087"/>
                  </a:lnTo>
                  <a:close/>
                  <a:moveTo>
                    <a:pt x="228121" y="255359"/>
                  </a:moveTo>
                  <a:lnTo>
                    <a:pt x="228121" y="255359"/>
                  </a:lnTo>
                  <a:cubicBezTo>
                    <a:pt x="226843" y="255998"/>
                    <a:pt x="225565" y="255998"/>
                    <a:pt x="224926" y="255998"/>
                  </a:cubicBezTo>
                  <a:lnTo>
                    <a:pt x="130355" y="255998"/>
                  </a:lnTo>
                  <a:cubicBezTo>
                    <a:pt x="126521" y="255998"/>
                    <a:pt x="123965" y="253444"/>
                    <a:pt x="123965" y="249614"/>
                  </a:cubicBezTo>
                  <a:cubicBezTo>
                    <a:pt x="123965" y="245783"/>
                    <a:pt x="126521" y="243230"/>
                    <a:pt x="130355" y="243230"/>
                  </a:cubicBezTo>
                  <a:lnTo>
                    <a:pt x="194893" y="243230"/>
                  </a:lnTo>
                  <a:cubicBezTo>
                    <a:pt x="189781" y="238761"/>
                    <a:pt x="185308" y="233015"/>
                    <a:pt x="182113" y="225993"/>
                  </a:cubicBezTo>
                  <a:lnTo>
                    <a:pt x="130355" y="225993"/>
                  </a:lnTo>
                  <a:cubicBezTo>
                    <a:pt x="126521" y="225993"/>
                    <a:pt x="123965" y="223439"/>
                    <a:pt x="123965" y="219609"/>
                  </a:cubicBezTo>
                  <a:cubicBezTo>
                    <a:pt x="123965" y="215779"/>
                    <a:pt x="126521" y="213225"/>
                    <a:pt x="130355" y="213225"/>
                  </a:cubicBezTo>
                  <a:lnTo>
                    <a:pt x="177640" y="213225"/>
                  </a:lnTo>
                  <a:cubicBezTo>
                    <a:pt x="177001" y="210033"/>
                    <a:pt x="177001" y="206841"/>
                    <a:pt x="177001" y="203649"/>
                  </a:cubicBezTo>
                  <a:cubicBezTo>
                    <a:pt x="177001" y="201095"/>
                    <a:pt x="177001" y="198542"/>
                    <a:pt x="177640" y="195988"/>
                  </a:cubicBezTo>
                  <a:lnTo>
                    <a:pt x="130994" y="195988"/>
                  </a:lnTo>
                  <a:cubicBezTo>
                    <a:pt x="127160" y="195988"/>
                    <a:pt x="124604" y="193435"/>
                    <a:pt x="124604" y="189604"/>
                  </a:cubicBezTo>
                  <a:cubicBezTo>
                    <a:pt x="124604" y="185774"/>
                    <a:pt x="127160" y="183220"/>
                    <a:pt x="130994" y="183220"/>
                  </a:cubicBezTo>
                  <a:lnTo>
                    <a:pt x="181474" y="183220"/>
                  </a:lnTo>
                  <a:cubicBezTo>
                    <a:pt x="184030" y="176836"/>
                    <a:pt x="187864" y="171729"/>
                    <a:pt x="192976" y="166622"/>
                  </a:cubicBezTo>
                  <a:lnTo>
                    <a:pt x="130994" y="166622"/>
                  </a:lnTo>
                  <a:cubicBezTo>
                    <a:pt x="127160" y="166622"/>
                    <a:pt x="124604" y="164068"/>
                    <a:pt x="124604" y="160238"/>
                  </a:cubicBezTo>
                  <a:cubicBezTo>
                    <a:pt x="124604" y="156408"/>
                    <a:pt x="127160" y="153854"/>
                    <a:pt x="130994" y="153854"/>
                  </a:cubicBezTo>
                  <a:lnTo>
                    <a:pt x="213424" y="153854"/>
                  </a:lnTo>
                  <a:lnTo>
                    <a:pt x="214063" y="153854"/>
                  </a:lnTo>
                  <a:cubicBezTo>
                    <a:pt x="219175" y="152577"/>
                    <a:pt x="223648" y="151939"/>
                    <a:pt x="228760" y="151939"/>
                  </a:cubicBezTo>
                  <a:cubicBezTo>
                    <a:pt x="257514" y="153216"/>
                    <a:pt x="279240" y="176836"/>
                    <a:pt x="278601" y="205564"/>
                  </a:cubicBezTo>
                  <a:cubicBezTo>
                    <a:pt x="277323" y="233015"/>
                    <a:pt x="255597" y="254721"/>
                    <a:pt x="228121" y="255359"/>
                  </a:cubicBezTo>
                  <a:lnTo>
                    <a:pt x="228121" y="255359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" name="Graphic 4">
            <a:extLst>
              <a:ext uri="{FF2B5EF4-FFF2-40B4-BE49-F238E27FC236}">
                <a16:creationId xmlns:a16="http://schemas.microsoft.com/office/drawing/2014/main" id="{D56A0431-EBD6-434E-9652-3D09C15E66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7568783" y="2171823"/>
            <a:ext cx="551953" cy="551437"/>
            <a:chOff x="905454" y="2855717"/>
            <a:chExt cx="362309" cy="361971"/>
          </a:xfrm>
          <a:solidFill>
            <a:srgbClr val="B7DEE8"/>
          </a:solidFill>
        </p:grpSpPr>
        <p:sp>
          <p:nvSpPr>
            <p:cNvPr id="60" name="Graphic 4">
              <a:extLst>
                <a:ext uri="{FF2B5EF4-FFF2-40B4-BE49-F238E27FC236}">
                  <a16:creationId xmlns:a16="http://schemas.microsoft.com/office/drawing/2014/main" id="{258797C4-BFA8-43E7-BED1-096147C84409}"/>
                </a:ext>
              </a:extLst>
            </p:cNvPr>
            <p:cNvSpPr/>
            <p:nvPr/>
          </p:nvSpPr>
          <p:spPr>
            <a:xfrm>
              <a:off x="1017917" y="2938071"/>
              <a:ext cx="136744" cy="195988"/>
            </a:xfrm>
            <a:custGeom>
              <a:avLst/>
              <a:gdLst>
                <a:gd name="connsiteX0" fmla="*/ 23643 w 136744"/>
                <a:gd name="connsiteY0" fmla="*/ 84268 h 195988"/>
                <a:gd name="connsiteX1" fmla="*/ 113102 w 136744"/>
                <a:gd name="connsiteY1" fmla="*/ 84268 h 195988"/>
                <a:gd name="connsiteX2" fmla="*/ 119492 w 136744"/>
                <a:gd name="connsiteY2" fmla="*/ 90652 h 195988"/>
                <a:gd name="connsiteX3" fmla="*/ 113102 w 136744"/>
                <a:gd name="connsiteY3" fmla="*/ 97036 h 195988"/>
                <a:gd name="connsiteX4" fmla="*/ 23643 w 136744"/>
                <a:gd name="connsiteY4" fmla="*/ 97036 h 195988"/>
                <a:gd name="connsiteX5" fmla="*/ 17253 w 136744"/>
                <a:gd name="connsiteY5" fmla="*/ 90652 h 195988"/>
                <a:gd name="connsiteX6" fmla="*/ 23643 w 136744"/>
                <a:gd name="connsiteY6" fmla="*/ 84268 h 195988"/>
                <a:gd name="connsiteX7" fmla="*/ 23643 w 136744"/>
                <a:gd name="connsiteY7" fmla="*/ 54902 h 195988"/>
                <a:gd name="connsiteX8" fmla="*/ 113102 w 136744"/>
                <a:gd name="connsiteY8" fmla="*/ 54902 h 195988"/>
                <a:gd name="connsiteX9" fmla="*/ 119492 w 136744"/>
                <a:gd name="connsiteY9" fmla="*/ 61286 h 195988"/>
                <a:gd name="connsiteX10" fmla="*/ 113102 w 136744"/>
                <a:gd name="connsiteY10" fmla="*/ 67670 h 195988"/>
                <a:gd name="connsiteX11" fmla="*/ 23643 w 136744"/>
                <a:gd name="connsiteY11" fmla="*/ 67670 h 195988"/>
                <a:gd name="connsiteX12" fmla="*/ 17253 w 136744"/>
                <a:gd name="connsiteY12" fmla="*/ 61286 h 195988"/>
                <a:gd name="connsiteX13" fmla="*/ 23643 w 136744"/>
                <a:gd name="connsiteY13" fmla="*/ 54902 h 195988"/>
                <a:gd name="connsiteX14" fmla="*/ 23643 w 136744"/>
                <a:gd name="connsiteY14" fmla="*/ 24897 h 195988"/>
                <a:gd name="connsiteX15" fmla="*/ 113102 w 136744"/>
                <a:gd name="connsiteY15" fmla="*/ 24897 h 195988"/>
                <a:gd name="connsiteX16" fmla="*/ 119492 w 136744"/>
                <a:gd name="connsiteY16" fmla="*/ 31281 h 195988"/>
                <a:gd name="connsiteX17" fmla="*/ 113102 w 136744"/>
                <a:gd name="connsiteY17" fmla="*/ 37665 h 195988"/>
                <a:gd name="connsiteX18" fmla="*/ 23643 w 136744"/>
                <a:gd name="connsiteY18" fmla="*/ 37665 h 195988"/>
                <a:gd name="connsiteX19" fmla="*/ 17253 w 136744"/>
                <a:gd name="connsiteY19" fmla="*/ 31281 h 195988"/>
                <a:gd name="connsiteX20" fmla="*/ 23643 w 136744"/>
                <a:gd name="connsiteY20" fmla="*/ 24897 h 195988"/>
                <a:gd name="connsiteX21" fmla="*/ 96488 w 136744"/>
                <a:gd name="connsiteY21" fmla="*/ 151300 h 195988"/>
                <a:gd name="connsiteX22" fmla="*/ 97127 w 136744"/>
                <a:gd name="connsiteY22" fmla="*/ 159600 h 195988"/>
                <a:gd name="connsiteX23" fmla="*/ 91376 w 136744"/>
                <a:gd name="connsiteY23" fmla="*/ 165984 h 195988"/>
                <a:gd name="connsiteX24" fmla="*/ 90737 w 136744"/>
                <a:gd name="connsiteY24" fmla="*/ 166622 h 195988"/>
                <a:gd name="connsiteX25" fmla="*/ 90737 w 136744"/>
                <a:gd name="connsiteY25" fmla="*/ 167260 h 195988"/>
                <a:gd name="connsiteX26" fmla="*/ 86264 w 136744"/>
                <a:gd name="connsiteY26" fmla="*/ 174283 h 195988"/>
                <a:gd name="connsiteX27" fmla="*/ 77957 w 136744"/>
                <a:gd name="connsiteY27" fmla="*/ 176198 h 195988"/>
                <a:gd name="connsiteX28" fmla="*/ 77318 w 136744"/>
                <a:gd name="connsiteY28" fmla="*/ 176198 h 195988"/>
                <a:gd name="connsiteX29" fmla="*/ 76679 w 136744"/>
                <a:gd name="connsiteY29" fmla="*/ 176836 h 195988"/>
                <a:gd name="connsiteX30" fmla="*/ 61343 w 136744"/>
                <a:gd name="connsiteY30" fmla="*/ 177475 h 195988"/>
                <a:gd name="connsiteX31" fmla="*/ 60704 w 136744"/>
                <a:gd name="connsiteY31" fmla="*/ 176836 h 195988"/>
                <a:gd name="connsiteX32" fmla="*/ 60065 w 136744"/>
                <a:gd name="connsiteY32" fmla="*/ 176198 h 195988"/>
                <a:gd name="connsiteX33" fmla="*/ 59426 w 136744"/>
                <a:gd name="connsiteY33" fmla="*/ 176198 h 195988"/>
                <a:gd name="connsiteX34" fmla="*/ 46647 w 136744"/>
                <a:gd name="connsiteY34" fmla="*/ 167899 h 195988"/>
                <a:gd name="connsiteX35" fmla="*/ 46647 w 136744"/>
                <a:gd name="connsiteY35" fmla="*/ 166622 h 195988"/>
                <a:gd name="connsiteX36" fmla="*/ 46647 w 136744"/>
                <a:gd name="connsiteY36" fmla="*/ 165984 h 195988"/>
                <a:gd name="connsiteX37" fmla="*/ 46008 w 136744"/>
                <a:gd name="connsiteY37" fmla="*/ 165345 h 195988"/>
                <a:gd name="connsiteX38" fmla="*/ 40257 w 136744"/>
                <a:gd name="connsiteY38" fmla="*/ 158961 h 195988"/>
                <a:gd name="connsiteX39" fmla="*/ 40896 w 136744"/>
                <a:gd name="connsiteY39" fmla="*/ 150662 h 195988"/>
                <a:gd name="connsiteX40" fmla="*/ 41535 w 136744"/>
                <a:gd name="connsiteY40" fmla="*/ 149385 h 195988"/>
                <a:gd name="connsiteX41" fmla="*/ 40896 w 136744"/>
                <a:gd name="connsiteY41" fmla="*/ 148747 h 195988"/>
                <a:gd name="connsiteX42" fmla="*/ 40257 w 136744"/>
                <a:gd name="connsiteY42" fmla="*/ 140448 h 195988"/>
                <a:gd name="connsiteX43" fmla="*/ 46008 w 136744"/>
                <a:gd name="connsiteY43" fmla="*/ 134064 h 195988"/>
                <a:gd name="connsiteX44" fmla="*/ 46647 w 136744"/>
                <a:gd name="connsiteY44" fmla="*/ 133425 h 195988"/>
                <a:gd name="connsiteX45" fmla="*/ 46647 w 136744"/>
                <a:gd name="connsiteY45" fmla="*/ 132787 h 195988"/>
                <a:gd name="connsiteX46" fmla="*/ 51119 w 136744"/>
                <a:gd name="connsiteY46" fmla="*/ 125764 h 195988"/>
                <a:gd name="connsiteX47" fmla="*/ 59426 w 136744"/>
                <a:gd name="connsiteY47" fmla="*/ 123849 h 195988"/>
                <a:gd name="connsiteX48" fmla="*/ 60065 w 136744"/>
                <a:gd name="connsiteY48" fmla="*/ 123849 h 195988"/>
                <a:gd name="connsiteX49" fmla="*/ 60704 w 136744"/>
                <a:gd name="connsiteY49" fmla="*/ 123211 h 195988"/>
                <a:gd name="connsiteX50" fmla="*/ 76040 w 136744"/>
                <a:gd name="connsiteY50" fmla="*/ 122572 h 195988"/>
                <a:gd name="connsiteX51" fmla="*/ 76679 w 136744"/>
                <a:gd name="connsiteY51" fmla="*/ 123211 h 195988"/>
                <a:gd name="connsiteX52" fmla="*/ 77318 w 136744"/>
                <a:gd name="connsiteY52" fmla="*/ 123849 h 195988"/>
                <a:gd name="connsiteX53" fmla="*/ 77957 w 136744"/>
                <a:gd name="connsiteY53" fmla="*/ 123849 h 195988"/>
                <a:gd name="connsiteX54" fmla="*/ 86264 w 136744"/>
                <a:gd name="connsiteY54" fmla="*/ 125764 h 195988"/>
                <a:gd name="connsiteX55" fmla="*/ 90737 w 136744"/>
                <a:gd name="connsiteY55" fmla="*/ 132787 h 195988"/>
                <a:gd name="connsiteX56" fmla="*/ 90737 w 136744"/>
                <a:gd name="connsiteY56" fmla="*/ 133425 h 195988"/>
                <a:gd name="connsiteX57" fmla="*/ 91376 w 136744"/>
                <a:gd name="connsiteY57" fmla="*/ 134064 h 195988"/>
                <a:gd name="connsiteX58" fmla="*/ 97127 w 136744"/>
                <a:gd name="connsiteY58" fmla="*/ 140448 h 195988"/>
                <a:gd name="connsiteX59" fmla="*/ 96488 w 136744"/>
                <a:gd name="connsiteY59" fmla="*/ 148747 h 195988"/>
                <a:gd name="connsiteX60" fmla="*/ 95849 w 136744"/>
                <a:gd name="connsiteY60" fmla="*/ 149385 h 195988"/>
                <a:gd name="connsiteX61" fmla="*/ 96488 w 136744"/>
                <a:gd name="connsiteY61" fmla="*/ 151300 h 195988"/>
                <a:gd name="connsiteX62" fmla="*/ 0 w 136744"/>
                <a:gd name="connsiteY62" fmla="*/ 195988 h 195988"/>
                <a:gd name="connsiteX63" fmla="*/ 136745 w 136744"/>
                <a:gd name="connsiteY63" fmla="*/ 195988 h 195988"/>
                <a:gd name="connsiteX64" fmla="*/ 136745 w 136744"/>
                <a:gd name="connsiteY64" fmla="*/ 0 h 195988"/>
                <a:gd name="connsiteX65" fmla="*/ 639 w 136744"/>
                <a:gd name="connsiteY65" fmla="*/ 0 h 195988"/>
                <a:gd name="connsiteX66" fmla="*/ 0 w 136744"/>
                <a:gd name="connsiteY66" fmla="*/ 195988 h 195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36744" h="195988">
                  <a:moveTo>
                    <a:pt x="23643" y="84268"/>
                  </a:moveTo>
                  <a:lnTo>
                    <a:pt x="113102" y="84268"/>
                  </a:lnTo>
                  <a:cubicBezTo>
                    <a:pt x="116936" y="84268"/>
                    <a:pt x="119492" y="86822"/>
                    <a:pt x="119492" y="90652"/>
                  </a:cubicBezTo>
                  <a:cubicBezTo>
                    <a:pt x="119492" y="94483"/>
                    <a:pt x="116936" y="97036"/>
                    <a:pt x="113102" y="97036"/>
                  </a:cubicBezTo>
                  <a:lnTo>
                    <a:pt x="23643" y="97036"/>
                  </a:lnTo>
                  <a:cubicBezTo>
                    <a:pt x="19809" y="97036"/>
                    <a:pt x="17253" y="94483"/>
                    <a:pt x="17253" y="90652"/>
                  </a:cubicBezTo>
                  <a:cubicBezTo>
                    <a:pt x="17253" y="86822"/>
                    <a:pt x="19809" y="84268"/>
                    <a:pt x="23643" y="84268"/>
                  </a:cubicBezTo>
                  <a:moveTo>
                    <a:pt x="23643" y="54902"/>
                  </a:moveTo>
                  <a:lnTo>
                    <a:pt x="113102" y="54902"/>
                  </a:lnTo>
                  <a:cubicBezTo>
                    <a:pt x="116936" y="54902"/>
                    <a:pt x="119492" y="57456"/>
                    <a:pt x="119492" y="61286"/>
                  </a:cubicBezTo>
                  <a:cubicBezTo>
                    <a:pt x="119492" y="65117"/>
                    <a:pt x="116936" y="67670"/>
                    <a:pt x="113102" y="67670"/>
                  </a:cubicBezTo>
                  <a:lnTo>
                    <a:pt x="23643" y="67670"/>
                  </a:lnTo>
                  <a:cubicBezTo>
                    <a:pt x="19809" y="67670"/>
                    <a:pt x="17253" y="65117"/>
                    <a:pt x="17253" y="61286"/>
                  </a:cubicBezTo>
                  <a:cubicBezTo>
                    <a:pt x="17253" y="57456"/>
                    <a:pt x="19809" y="54902"/>
                    <a:pt x="23643" y="54902"/>
                  </a:cubicBezTo>
                  <a:moveTo>
                    <a:pt x="23643" y="24897"/>
                  </a:moveTo>
                  <a:lnTo>
                    <a:pt x="113102" y="24897"/>
                  </a:lnTo>
                  <a:cubicBezTo>
                    <a:pt x="116936" y="24897"/>
                    <a:pt x="119492" y="27451"/>
                    <a:pt x="119492" y="31281"/>
                  </a:cubicBezTo>
                  <a:cubicBezTo>
                    <a:pt x="119492" y="35112"/>
                    <a:pt x="116936" y="37665"/>
                    <a:pt x="113102" y="37665"/>
                  </a:cubicBezTo>
                  <a:lnTo>
                    <a:pt x="23643" y="37665"/>
                  </a:lnTo>
                  <a:cubicBezTo>
                    <a:pt x="19809" y="37665"/>
                    <a:pt x="17253" y="35112"/>
                    <a:pt x="17253" y="31281"/>
                  </a:cubicBezTo>
                  <a:cubicBezTo>
                    <a:pt x="17253" y="27451"/>
                    <a:pt x="19809" y="24897"/>
                    <a:pt x="23643" y="24897"/>
                  </a:cubicBezTo>
                  <a:moveTo>
                    <a:pt x="96488" y="151300"/>
                  </a:moveTo>
                  <a:cubicBezTo>
                    <a:pt x="97766" y="153854"/>
                    <a:pt x="97766" y="157046"/>
                    <a:pt x="97127" y="159600"/>
                  </a:cubicBezTo>
                  <a:cubicBezTo>
                    <a:pt x="95849" y="162153"/>
                    <a:pt x="93932" y="164707"/>
                    <a:pt x="91376" y="165984"/>
                  </a:cubicBezTo>
                  <a:lnTo>
                    <a:pt x="90737" y="166622"/>
                  </a:lnTo>
                  <a:cubicBezTo>
                    <a:pt x="90737" y="166622"/>
                    <a:pt x="90737" y="167260"/>
                    <a:pt x="90737" y="167260"/>
                  </a:cubicBezTo>
                  <a:cubicBezTo>
                    <a:pt x="90098" y="169814"/>
                    <a:pt x="88820" y="173006"/>
                    <a:pt x="86264" y="174283"/>
                  </a:cubicBezTo>
                  <a:cubicBezTo>
                    <a:pt x="83708" y="175560"/>
                    <a:pt x="81152" y="176198"/>
                    <a:pt x="77957" y="176198"/>
                  </a:cubicBezTo>
                  <a:cubicBezTo>
                    <a:pt x="77957" y="176198"/>
                    <a:pt x="77318" y="176198"/>
                    <a:pt x="77318" y="176198"/>
                  </a:cubicBezTo>
                  <a:lnTo>
                    <a:pt x="76679" y="176836"/>
                  </a:lnTo>
                  <a:cubicBezTo>
                    <a:pt x="72845" y="181305"/>
                    <a:pt x="65816" y="181305"/>
                    <a:pt x="61343" y="177475"/>
                  </a:cubicBezTo>
                  <a:cubicBezTo>
                    <a:pt x="61343" y="177475"/>
                    <a:pt x="61343" y="177475"/>
                    <a:pt x="60704" y="176836"/>
                  </a:cubicBezTo>
                  <a:lnTo>
                    <a:pt x="60065" y="176198"/>
                  </a:lnTo>
                  <a:lnTo>
                    <a:pt x="59426" y="176198"/>
                  </a:lnTo>
                  <a:cubicBezTo>
                    <a:pt x="53675" y="177475"/>
                    <a:pt x="47925" y="173644"/>
                    <a:pt x="46647" y="167899"/>
                  </a:cubicBezTo>
                  <a:cubicBezTo>
                    <a:pt x="46647" y="167260"/>
                    <a:pt x="46647" y="167260"/>
                    <a:pt x="46647" y="166622"/>
                  </a:cubicBezTo>
                  <a:cubicBezTo>
                    <a:pt x="46647" y="166622"/>
                    <a:pt x="46647" y="165984"/>
                    <a:pt x="46647" y="165984"/>
                  </a:cubicBezTo>
                  <a:lnTo>
                    <a:pt x="46008" y="165345"/>
                  </a:lnTo>
                  <a:cubicBezTo>
                    <a:pt x="43452" y="164068"/>
                    <a:pt x="41535" y="161515"/>
                    <a:pt x="40257" y="158961"/>
                  </a:cubicBezTo>
                  <a:cubicBezTo>
                    <a:pt x="39618" y="156408"/>
                    <a:pt x="39618" y="153216"/>
                    <a:pt x="40896" y="150662"/>
                  </a:cubicBezTo>
                  <a:cubicBezTo>
                    <a:pt x="40896" y="150024"/>
                    <a:pt x="41535" y="150024"/>
                    <a:pt x="41535" y="149385"/>
                  </a:cubicBezTo>
                  <a:cubicBezTo>
                    <a:pt x="41535" y="149385"/>
                    <a:pt x="41535" y="149385"/>
                    <a:pt x="40896" y="148747"/>
                  </a:cubicBezTo>
                  <a:cubicBezTo>
                    <a:pt x="39618" y="146193"/>
                    <a:pt x="39618" y="143001"/>
                    <a:pt x="40257" y="140448"/>
                  </a:cubicBezTo>
                  <a:cubicBezTo>
                    <a:pt x="41535" y="137894"/>
                    <a:pt x="43452" y="135340"/>
                    <a:pt x="46008" y="134064"/>
                  </a:cubicBezTo>
                  <a:lnTo>
                    <a:pt x="46647" y="133425"/>
                  </a:lnTo>
                  <a:cubicBezTo>
                    <a:pt x="46647" y="133425"/>
                    <a:pt x="46647" y="132787"/>
                    <a:pt x="46647" y="132787"/>
                  </a:cubicBezTo>
                  <a:cubicBezTo>
                    <a:pt x="47285" y="130233"/>
                    <a:pt x="48563" y="127041"/>
                    <a:pt x="51119" y="125764"/>
                  </a:cubicBezTo>
                  <a:cubicBezTo>
                    <a:pt x="53675" y="124488"/>
                    <a:pt x="56231" y="123849"/>
                    <a:pt x="59426" y="123849"/>
                  </a:cubicBezTo>
                  <a:lnTo>
                    <a:pt x="60065" y="123849"/>
                  </a:lnTo>
                  <a:lnTo>
                    <a:pt x="60704" y="123211"/>
                  </a:lnTo>
                  <a:cubicBezTo>
                    <a:pt x="64538" y="118742"/>
                    <a:pt x="71567" y="118742"/>
                    <a:pt x="76040" y="122572"/>
                  </a:cubicBezTo>
                  <a:cubicBezTo>
                    <a:pt x="76040" y="122572"/>
                    <a:pt x="76040" y="122572"/>
                    <a:pt x="76679" y="123211"/>
                  </a:cubicBezTo>
                  <a:lnTo>
                    <a:pt x="77318" y="123849"/>
                  </a:lnTo>
                  <a:lnTo>
                    <a:pt x="77957" y="123849"/>
                  </a:lnTo>
                  <a:cubicBezTo>
                    <a:pt x="80513" y="123211"/>
                    <a:pt x="83708" y="123849"/>
                    <a:pt x="86264" y="125764"/>
                  </a:cubicBezTo>
                  <a:cubicBezTo>
                    <a:pt x="88820" y="127680"/>
                    <a:pt x="90098" y="130233"/>
                    <a:pt x="90737" y="132787"/>
                  </a:cubicBezTo>
                  <a:cubicBezTo>
                    <a:pt x="90737" y="132787"/>
                    <a:pt x="90737" y="133425"/>
                    <a:pt x="90737" y="133425"/>
                  </a:cubicBezTo>
                  <a:lnTo>
                    <a:pt x="91376" y="134064"/>
                  </a:lnTo>
                  <a:cubicBezTo>
                    <a:pt x="93932" y="135340"/>
                    <a:pt x="95849" y="137894"/>
                    <a:pt x="97127" y="140448"/>
                  </a:cubicBezTo>
                  <a:cubicBezTo>
                    <a:pt x="97766" y="143001"/>
                    <a:pt x="97766" y="146193"/>
                    <a:pt x="96488" y="148747"/>
                  </a:cubicBezTo>
                  <a:lnTo>
                    <a:pt x="95849" y="149385"/>
                  </a:lnTo>
                  <a:lnTo>
                    <a:pt x="96488" y="151300"/>
                  </a:lnTo>
                  <a:moveTo>
                    <a:pt x="0" y="195988"/>
                  </a:moveTo>
                  <a:lnTo>
                    <a:pt x="136745" y="195988"/>
                  </a:lnTo>
                  <a:lnTo>
                    <a:pt x="136745" y="0"/>
                  </a:lnTo>
                  <a:lnTo>
                    <a:pt x="639" y="0"/>
                  </a:lnTo>
                  <a:lnTo>
                    <a:pt x="0" y="195988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Graphic 4">
              <a:extLst>
                <a:ext uri="{FF2B5EF4-FFF2-40B4-BE49-F238E27FC236}">
                  <a16:creationId xmlns:a16="http://schemas.microsoft.com/office/drawing/2014/main" id="{FE49F502-B3E4-4944-A1E0-A53056C6E058}"/>
                </a:ext>
              </a:extLst>
            </p:cNvPr>
            <p:cNvSpPr/>
            <p:nvPr/>
          </p:nvSpPr>
          <p:spPr>
            <a:xfrm>
              <a:off x="1071592" y="3071496"/>
              <a:ext cx="30671" cy="33196"/>
            </a:xfrm>
            <a:custGeom>
              <a:avLst/>
              <a:gdLst>
                <a:gd name="connsiteX0" fmla="*/ 26838 w 30671"/>
                <a:gd name="connsiteY0" fmla="*/ 8299 h 33196"/>
                <a:gd name="connsiteX1" fmla="*/ 24921 w 30671"/>
                <a:gd name="connsiteY1" fmla="*/ 3192 h 33196"/>
                <a:gd name="connsiteX2" fmla="*/ 19809 w 30671"/>
                <a:gd name="connsiteY2" fmla="*/ 2554 h 33196"/>
                <a:gd name="connsiteX3" fmla="*/ 15336 w 30671"/>
                <a:gd name="connsiteY3" fmla="*/ 0 h 33196"/>
                <a:gd name="connsiteX4" fmla="*/ 10863 w 30671"/>
                <a:gd name="connsiteY4" fmla="*/ 2554 h 33196"/>
                <a:gd name="connsiteX5" fmla="*/ 5751 w 30671"/>
                <a:gd name="connsiteY5" fmla="*/ 3192 h 33196"/>
                <a:gd name="connsiteX6" fmla="*/ 3834 w 30671"/>
                <a:gd name="connsiteY6" fmla="*/ 8299 h 33196"/>
                <a:gd name="connsiteX7" fmla="*/ 0 w 30671"/>
                <a:gd name="connsiteY7" fmla="*/ 11491 h 33196"/>
                <a:gd name="connsiteX8" fmla="*/ 0 w 30671"/>
                <a:gd name="connsiteY8" fmla="*/ 21706 h 33196"/>
                <a:gd name="connsiteX9" fmla="*/ 3834 w 30671"/>
                <a:gd name="connsiteY9" fmla="*/ 24897 h 33196"/>
                <a:gd name="connsiteX10" fmla="*/ 5751 w 30671"/>
                <a:gd name="connsiteY10" fmla="*/ 30005 h 33196"/>
                <a:gd name="connsiteX11" fmla="*/ 7029 w 30671"/>
                <a:gd name="connsiteY11" fmla="*/ 30005 h 33196"/>
                <a:gd name="connsiteX12" fmla="*/ 10863 w 30671"/>
                <a:gd name="connsiteY12" fmla="*/ 30643 h 33196"/>
                <a:gd name="connsiteX13" fmla="*/ 15336 w 30671"/>
                <a:gd name="connsiteY13" fmla="*/ 33197 h 33196"/>
                <a:gd name="connsiteX14" fmla="*/ 19809 w 30671"/>
                <a:gd name="connsiteY14" fmla="*/ 30643 h 33196"/>
                <a:gd name="connsiteX15" fmla="*/ 24921 w 30671"/>
                <a:gd name="connsiteY15" fmla="*/ 30005 h 33196"/>
                <a:gd name="connsiteX16" fmla="*/ 26838 w 30671"/>
                <a:gd name="connsiteY16" fmla="*/ 24897 h 33196"/>
                <a:gd name="connsiteX17" fmla="*/ 30672 w 30671"/>
                <a:gd name="connsiteY17" fmla="*/ 21706 h 33196"/>
                <a:gd name="connsiteX18" fmla="*/ 30672 w 30671"/>
                <a:gd name="connsiteY18" fmla="*/ 11491 h 33196"/>
                <a:gd name="connsiteX19" fmla="*/ 26838 w 30671"/>
                <a:gd name="connsiteY19" fmla="*/ 8299 h 33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0671" h="33196">
                  <a:moveTo>
                    <a:pt x="26838" y="8299"/>
                  </a:moveTo>
                  <a:cubicBezTo>
                    <a:pt x="25560" y="7022"/>
                    <a:pt x="24921" y="5107"/>
                    <a:pt x="24921" y="3192"/>
                  </a:cubicBezTo>
                  <a:cubicBezTo>
                    <a:pt x="23004" y="3192"/>
                    <a:pt x="21087" y="3192"/>
                    <a:pt x="19809" y="2554"/>
                  </a:cubicBezTo>
                  <a:cubicBezTo>
                    <a:pt x="17892" y="1915"/>
                    <a:pt x="16614" y="1277"/>
                    <a:pt x="15336" y="0"/>
                  </a:cubicBezTo>
                  <a:cubicBezTo>
                    <a:pt x="14058" y="1277"/>
                    <a:pt x="12780" y="1915"/>
                    <a:pt x="10863" y="2554"/>
                  </a:cubicBezTo>
                  <a:cubicBezTo>
                    <a:pt x="8946" y="3192"/>
                    <a:pt x="7668" y="3192"/>
                    <a:pt x="5751" y="3192"/>
                  </a:cubicBezTo>
                  <a:cubicBezTo>
                    <a:pt x="5112" y="5107"/>
                    <a:pt x="4473" y="6384"/>
                    <a:pt x="3834" y="8299"/>
                  </a:cubicBezTo>
                  <a:cubicBezTo>
                    <a:pt x="2556" y="9576"/>
                    <a:pt x="1278" y="10853"/>
                    <a:pt x="0" y="11491"/>
                  </a:cubicBezTo>
                  <a:cubicBezTo>
                    <a:pt x="1278" y="14683"/>
                    <a:pt x="1278" y="18514"/>
                    <a:pt x="0" y="21706"/>
                  </a:cubicBezTo>
                  <a:cubicBezTo>
                    <a:pt x="1278" y="22344"/>
                    <a:pt x="2556" y="23621"/>
                    <a:pt x="3834" y="24897"/>
                  </a:cubicBezTo>
                  <a:cubicBezTo>
                    <a:pt x="5112" y="26174"/>
                    <a:pt x="5751" y="28089"/>
                    <a:pt x="5751" y="30005"/>
                  </a:cubicBezTo>
                  <a:lnTo>
                    <a:pt x="7029" y="30005"/>
                  </a:lnTo>
                  <a:cubicBezTo>
                    <a:pt x="8307" y="30005"/>
                    <a:pt x="9585" y="30005"/>
                    <a:pt x="10863" y="30643"/>
                  </a:cubicBezTo>
                  <a:cubicBezTo>
                    <a:pt x="12780" y="31281"/>
                    <a:pt x="14058" y="31920"/>
                    <a:pt x="15336" y="33197"/>
                  </a:cubicBezTo>
                  <a:cubicBezTo>
                    <a:pt x="16614" y="31920"/>
                    <a:pt x="17892" y="31281"/>
                    <a:pt x="19809" y="30643"/>
                  </a:cubicBezTo>
                  <a:cubicBezTo>
                    <a:pt x="21726" y="30005"/>
                    <a:pt x="23004" y="30005"/>
                    <a:pt x="24921" y="30005"/>
                  </a:cubicBezTo>
                  <a:cubicBezTo>
                    <a:pt x="25560" y="28089"/>
                    <a:pt x="26199" y="26813"/>
                    <a:pt x="26838" y="24897"/>
                  </a:cubicBezTo>
                  <a:cubicBezTo>
                    <a:pt x="28116" y="23621"/>
                    <a:pt x="29394" y="22344"/>
                    <a:pt x="30672" y="21706"/>
                  </a:cubicBezTo>
                  <a:cubicBezTo>
                    <a:pt x="29394" y="18514"/>
                    <a:pt x="29394" y="14683"/>
                    <a:pt x="30672" y="11491"/>
                  </a:cubicBezTo>
                  <a:cubicBezTo>
                    <a:pt x="29394" y="11491"/>
                    <a:pt x="28116" y="10214"/>
                    <a:pt x="26838" y="8299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Graphic 4">
              <a:extLst>
                <a:ext uri="{FF2B5EF4-FFF2-40B4-BE49-F238E27FC236}">
                  <a16:creationId xmlns:a16="http://schemas.microsoft.com/office/drawing/2014/main" id="{1EAA632E-6E67-4180-943E-2E32E1D50F39}"/>
                </a:ext>
              </a:extLst>
            </p:cNvPr>
            <p:cNvSpPr/>
            <p:nvPr/>
          </p:nvSpPr>
          <p:spPr>
            <a:xfrm>
              <a:off x="905454" y="2855717"/>
              <a:ext cx="362309" cy="361971"/>
            </a:xfrm>
            <a:custGeom>
              <a:avLst/>
              <a:gdLst>
                <a:gd name="connsiteX0" fmla="*/ 261987 w 362309"/>
                <a:gd name="connsiteY0" fmla="*/ 285364 h 361971"/>
                <a:gd name="connsiteX1" fmla="*/ 255597 w 362309"/>
                <a:gd name="connsiteY1" fmla="*/ 291748 h 361971"/>
                <a:gd name="connsiteX2" fmla="*/ 106073 w 362309"/>
                <a:gd name="connsiteY2" fmla="*/ 291748 h 361971"/>
                <a:gd name="connsiteX3" fmla="*/ 99683 w 362309"/>
                <a:gd name="connsiteY3" fmla="*/ 285364 h 361971"/>
                <a:gd name="connsiteX4" fmla="*/ 99683 w 362309"/>
                <a:gd name="connsiteY4" fmla="*/ 76608 h 361971"/>
                <a:gd name="connsiteX5" fmla="*/ 106073 w 362309"/>
                <a:gd name="connsiteY5" fmla="*/ 70224 h 361971"/>
                <a:gd name="connsiteX6" fmla="*/ 255597 w 362309"/>
                <a:gd name="connsiteY6" fmla="*/ 70224 h 361971"/>
                <a:gd name="connsiteX7" fmla="*/ 261987 w 362309"/>
                <a:gd name="connsiteY7" fmla="*/ 76608 h 361971"/>
                <a:gd name="connsiteX8" fmla="*/ 261987 w 362309"/>
                <a:gd name="connsiteY8" fmla="*/ 285364 h 361971"/>
                <a:gd name="connsiteX9" fmla="*/ 180835 w 362309"/>
                <a:gd name="connsiteY9" fmla="*/ 0 h 361971"/>
                <a:gd name="connsiteX10" fmla="*/ 0 w 362309"/>
                <a:gd name="connsiteY10" fmla="*/ 181305 h 361971"/>
                <a:gd name="connsiteX11" fmla="*/ 181474 w 362309"/>
                <a:gd name="connsiteY11" fmla="*/ 361972 h 361971"/>
                <a:gd name="connsiteX12" fmla="*/ 362309 w 362309"/>
                <a:gd name="connsiteY12" fmla="*/ 180667 h 361971"/>
                <a:gd name="connsiteX13" fmla="*/ 180835 w 362309"/>
                <a:gd name="connsiteY13" fmla="*/ 0 h 361971"/>
                <a:gd name="connsiteX14" fmla="*/ 180835 w 362309"/>
                <a:gd name="connsiteY14" fmla="*/ 0 h 361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62309" h="361971">
                  <a:moveTo>
                    <a:pt x="261987" y="285364"/>
                  </a:moveTo>
                  <a:cubicBezTo>
                    <a:pt x="261987" y="289194"/>
                    <a:pt x="259431" y="291748"/>
                    <a:pt x="255597" y="291748"/>
                  </a:cubicBezTo>
                  <a:lnTo>
                    <a:pt x="106073" y="291748"/>
                  </a:lnTo>
                  <a:cubicBezTo>
                    <a:pt x="102239" y="291748"/>
                    <a:pt x="99683" y="289194"/>
                    <a:pt x="99683" y="285364"/>
                  </a:cubicBezTo>
                  <a:lnTo>
                    <a:pt x="99683" y="76608"/>
                  </a:lnTo>
                  <a:cubicBezTo>
                    <a:pt x="99683" y="72777"/>
                    <a:pt x="102239" y="70224"/>
                    <a:pt x="106073" y="70224"/>
                  </a:cubicBezTo>
                  <a:lnTo>
                    <a:pt x="255597" y="70224"/>
                  </a:lnTo>
                  <a:cubicBezTo>
                    <a:pt x="259431" y="70224"/>
                    <a:pt x="261987" y="72777"/>
                    <a:pt x="261987" y="76608"/>
                  </a:cubicBezTo>
                  <a:lnTo>
                    <a:pt x="261987" y="285364"/>
                  </a:lnTo>
                  <a:close/>
                  <a:moveTo>
                    <a:pt x="180835" y="0"/>
                  </a:moveTo>
                  <a:cubicBezTo>
                    <a:pt x="80513" y="0"/>
                    <a:pt x="0" y="81076"/>
                    <a:pt x="0" y="181305"/>
                  </a:cubicBezTo>
                  <a:cubicBezTo>
                    <a:pt x="0" y="281533"/>
                    <a:pt x="81152" y="361972"/>
                    <a:pt x="181474" y="361972"/>
                  </a:cubicBezTo>
                  <a:cubicBezTo>
                    <a:pt x="281157" y="361972"/>
                    <a:pt x="362309" y="280895"/>
                    <a:pt x="362309" y="180667"/>
                  </a:cubicBezTo>
                  <a:cubicBezTo>
                    <a:pt x="362309" y="80438"/>
                    <a:pt x="281157" y="0"/>
                    <a:pt x="180835" y="0"/>
                  </a:cubicBezTo>
                  <a:cubicBezTo>
                    <a:pt x="180835" y="0"/>
                    <a:pt x="180835" y="0"/>
                    <a:pt x="180835" y="0"/>
                  </a:cubicBezTo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3" name="Graphic 4">
            <a:extLst>
              <a:ext uri="{FF2B5EF4-FFF2-40B4-BE49-F238E27FC236}">
                <a16:creationId xmlns:a16="http://schemas.microsoft.com/office/drawing/2014/main" id="{5D50A01E-970E-4437-93FA-691E5B1087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566072" y="4658030"/>
            <a:ext cx="550985" cy="550473"/>
            <a:chOff x="5099808" y="3339623"/>
            <a:chExt cx="361670" cy="361333"/>
          </a:xfrm>
          <a:solidFill>
            <a:srgbClr val="17375E"/>
          </a:solidFill>
        </p:grpSpPr>
        <p:sp>
          <p:nvSpPr>
            <p:cNvPr id="64" name="Graphic 4">
              <a:extLst>
                <a:ext uri="{FF2B5EF4-FFF2-40B4-BE49-F238E27FC236}">
                  <a16:creationId xmlns:a16="http://schemas.microsoft.com/office/drawing/2014/main" id="{D0E481C4-0F70-4125-81E3-4BBAA793F8F5}"/>
                </a:ext>
              </a:extLst>
            </p:cNvPr>
            <p:cNvSpPr/>
            <p:nvPr/>
          </p:nvSpPr>
          <p:spPr>
            <a:xfrm>
              <a:off x="5292784" y="3533696"/>
              <a:ext cx="24920" cy="25535"/>
            </a:xfrm>
            <a:custGeom>
              <a:avLst/>
              <a:gdLst>
                <a:gd name="connsiteX0" fmla="*/ 24921 w 24920"/>
                <a:gd name="connsiteY0" fmla="*/ 0 h 25535"/>
                <a:gd name="connsiteX1" fmla="*/ 0 w 24920"/>
                <a:gd name="connsiteY1" fmla="*/ 25536 h 25535"/>
                <a:gd name="connsiteX2" fmla="*/ 24921 w 24920"/>
                <a:gd name="connsiteY2" fmla="*/ 25536 h 25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920" h="25535">
                  <a:moveTo>
                    <a:pt x="24921" y="0"/>
                  </a:moveTo>
                  <a:lnTo>
                    <a:pt x="0" y="25536"/>
                  </a:lnTo>
                  <a:lnTo>
                    <a:pt x="24921" y="25536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Graphic 4">
              <a:extLst>
                <a:ext uri="{FF2B5EF4-FFF2-40B4-BE49-F238E27FC236}">
                  <a16:creationId xmlns:a16="http://schemas.microsoft.com/office/drawing/2014/main" id="{9835174C-3565-493C-8955-799B0440B5A1}"/>
                </a:ext>
              </a:extLst>
            </p:cNvPr>
            <p:cNvSpPr/>
            <p:nvPr/>
          </p:nvSpPr>
          <p:spPr>
            <a:xfrm>
              <a:off x="5242943" y="3482625"/>
              <a:ext cx="24920" cy="24259"/>
            </a:xfrm>
            <a:custGeom>
              <a:avLst/>
              <a:gdLst>
                <a:gd name="connsiteX0" fmla="*/ 0 w 24920"/>
                <a:gd name="connsiteY0" fmla="*/ 24259 h 24259"/>
                <a:gd name="connsiteX1" fmla="*/ 24921 w 24920"/>
                <a:gd name="connsiteY1" fmla="*/ 0 h 24259"/>
                <a:gd name="connsiteX2" fmla="*/ 0 w 24920"/>
                <a:gd name="connsiteY2" fmla="*/ 0 h 24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4920" h="24259">
                  <a:moveTo>
                    <a:pt x="0" y="24259"/>
                  </a:moveTo>
                  <a:lnTo>
                    <a:pt x="2492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Graphic 4">
              <a:extLst>
                <a:ext uri="{FF2B5EF4-FFF2-40B4-BE49-F238E27FC236}">
                  <a16:creationId xmlns:a16="http://schemas.microsoft.com/office/drawing/2014/main" id="{BBAC35CB-72CF-48F7-8C75-D4185CBB0535}"/>
                </a:ext>
              </a:extLst>
            </p:cNvPr>
            <p:cNvSpPr/>
            <p:nvPr/>
          </p:nvSpPr>
          <p:spPr>
            <a:xfrm>
              <a:off x="5242943" y="3482625"/>
              <a:ext cx="66455" cy="67031"/>
            </a:xfrm>
            <a:custGeom>
              <a:avLst/>
              <a:gdLst>
                <a:gd name="connsiteX0" fmla="*/ 42813 w 66455"/>
                <a:gd name="connsiteY0" fmla="*/ 0 h 67031"/>
                <a:gd name="connsiteX1" fmla="*/ 0 w 66455"/>
                <a:gd name="connsiteY1" fmla="*/ 42134 h 67031"/>
                <a:gd name="connsiteX2" fmla="*/ 0 w 66455"/>
                <a:gd name="connsiteY2" fmla="*/ 67032 h 67031"/>
                <a:gd name="connsiteX3" fmla="*/ 66456 w 66455"/>
                <a:gd name="connsiteY3" fmla="*/ 0 h 6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455" h="67031">
                  <a:moveTo>
                    <a:pt x="42813" y="0"/>
                  </a:moveTo>
                  <a:lnTo>
                    <a:pt x="0" y="42134"/>
                  </a:lnTo>
                  <a:lnTo>
                    <a:pt x="0" y="67032"/>
                  </a:lnTo>
                  <a:lnTo>
                    <a:pt x="66456" y="0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Graphic 4">
              <a:extLst>
                <a:ext uri="{FF2B5EF4-FFF2-40B4-BE49-F238E27FC236}">
                  <a16:creationId xmlns:a16="http://schemas.microsoft.com/office/drawing/2014/main" id="{CED9765C-AFD8-4223-AB23-F5DBA0168FCC}"/>
                </a:ext>
              </a:extLst>
            </p:cNvPr>
            <p:cNvSpPr/>
            <p:nvPr/>
          </p:nvSpPr>
          <p:spPr>
            <a:xfrm>
              <a:off x="5251250" y="3492201"/>
              <a:ext cx="66455" cy="67031"/>
            </a:xfrm>
            <a:custGeom>
              <a:avLst/>
              <a:gdLst>
                <a:gd name="connsiteX0" fmla="*/ 66456 w 66455"/>
                <a:gd name="connsiteY0" fmla="*/ 23620 h 67031"/>
                <a:gd name="connsiteX1" fmla="*/ 66456 w 66455"/>
                <a:gd name="connsiteY1" fmla="*/ 0 h 67031"/>
                <a:gd name="connsiteX2" fmla="*/ 0 w 66455"/>
                <a:gd name="connsiteY2" fmla="*/ 67032 h 67031"/>
                <a:gd name="connsiteX3" fmla="*/ 23004 w 66455"/>
                <a:gd name="connsiteY3" fmla="*/ 67032 h 67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455" h="67031">
                  <a:moveTo>
                    <a:pt x="66456" y="23620"/>
                  </a:moveTo>
                  <a:lnTo>
                    <a:pt x="66456" y="0"/>
                  </a:lnTo>
                  <a:lnTo>
                    <a:pt x="0" y="67032"/>
                  </a:lnTo>
                  <a:lnTo>
                    <a:pt x="23004" y="6703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Graphic 4">
              <a:extLst>
                <a:ext uri="{FF2B5EF4-FFF2-40B4-BE49-F238E27FC236}">
                  <a16:creationId xmlns:a16="http://schemas.microsoft.com/office/drawing/2014/main" id="{5795A7E6-9E9E-497E-9E8D-4641C3CE22DD}"/>
                </a:ext>
              </a:extLst>
            </p:cNvPr>
            <p:cNvSpPr/>
            <p:nvPr/>
          </p:nvSpPr>
          <p:spPr>
            <a:xfrm>
              <a:off x="5099808" y="3339623"/>
              <a:ext cx="361670" cy="361333"/>
            </a:xfrm>
            <a:custGeom>
              <a:avLst/>
              <a:gdLst>
                <a:gd name="connsiteX0" fmla="*/ 180836 w 361670"/>
                <a:gd name="connsiteY0" fmla="*/ 0 h 361333"/>
                <a:gd name="connsiteX1" fmla="*/ 0 w 361670"/>
                <a:gd name="connsiteY1" fmla="*/ 180667 h 361333"/>
                <a:gd name="connsiteX2" fmla="*/ 180836 w 361670"/>
                <a:gd name="connsiteY2" fmla="*/ 361333 h 361333"/>
                <a:gd name="connsiteX3" fmla="*/ 361671 w 361670"/>
                <a:gd name="connsiteY3" fmla="*/ 180667 h 361333"/>
                <a:gd name="connsiteX4" fmla="*/ 180836 w 361670"/>
                <a:gd name="connsiteY4" fmla="*/ 0 h 361333"/>
                <a:gd name="connsiteX5" fmla="*/ 276045 w 361670"/>
                <a:gd name="connsiteY5" fmla="*/ 269404 h 361333"/>
                <a:gd name="connsiteX6" fmla="*/ 269655 w 361670"/>
                <a:gd name="connsiteY6" fmla="*/ 275788 h 361333"/>
                <a:gd name="connsiteX7" fmla="*/ 136745 w 361670"/>
                <a:gd name="connsiteY7" fmla="*/ 275788 h 361333"/>
                <a:gd name="connsiteX8" fmla="*/ 130355 w 361670"/>
                <a:gd name="connsiteY8" fmla="*/ 269404 h 361333"/>
                <a:gd name="connsiteX9" fmla="*/ 130355 w 361670"/>
                <a:gd name="connsiteY9" fmla="*/ 232377 h 361333"/>
                <a:gd name="connsiteX10" fmla="*/ 91376 w 361670"/>
                <a:gd name="connsiteY10" fmla="*/ 232377 h 361333"/>
                <a:gd name="connsiteX11" fmla="*/ 84986 w 361670"/>
                <a:gd name="connsiteY11" fmla="*/ 225993 h 361333"/>
                <a:gd name="connsiteX12" fmla="*/ 84986 w 361670"/>
                <a:gd name="connsiteY12" fmla="*/ 93206 h 361333"/>
                <a:gd name="connsiteX13" fmla="*/ 91376 w 361670"/>
                <a:gd name="connsiteY13" fmla="*/ 86822 h 361333"/>
                <a:gd name="connsiteX14" fmla="*/ 224287 w 361670"/>
                <a:gd name="connsiteY14" fmla="*/ 86822 h 361333"/>
                <a:gd name="connsiteX15" fmla="*/ 230677 w 361670"/>
                <a:gd name="connsiteY15" fmla="*/ 93206 h 361333"/>
                <a:gd name="connsiteX16" fmla="*/ 230677 w 361670"/>
                <a:gd name="connsiteY16" fmla="*/ 130233 h 361333"/>
                <a:gd name="connsiteX17" fmla="*/ 269655 w 361670"/>
                <a:gd name="connsiteY17" fmla="*/ 130233 h 361333"/>
                <a:gd name="connsiteX18" fmla="*/ 276045 w 361670"/>
                <a:gd name="connsiteY18" fmla="*/ 136617 h 361333"/>
                <a:gd name="connsiteX19" fmla="*/ 276045 w 361670"/>
                <a:gd name="connsiteY19" fmla="*/ 269404 h 36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61670" h="361333">
                  <a:moveTo>
                    <a:pt x="180836" y="0"/>
                  </a:moveTo>
                  <a:cubicBezTo>
                    <a:pt x="80513" y="0"/>
                    <a:pt x="0" y="81077"/>
                    <a:pt x="0" y="180667"/>
                  </a:cubicBezTo>
                  <a:cubicBezTo>
                    <a:pt x="0" y="280895"/>
                    <a:pt x="81152" y="361333"/>
                    <a:pt x="180836" y="361333"/>
                  </a:cubicBezTo>
                  <a:cubicBezTo>
                    <a:pt x="281157" y="361333"/>
                    <a:pt x="361671" y="280257"/>
                    <a:pt x="361671" y="180667"/>
                  </a:cubicBezTo>
                  <a:cubicBezTo>
                    <a:pt x="361671" y="81077"/>
                    <a:pt x="280518" y="0"/>
                    <a:pt x="180836" y="0"/>
                  </a:cubicBezTo>
                  <a:close/>
                  <a:moveTo>
                    <a:pt x="276045" y="269404"/>
                  </a:moveTo>
                  <a:cubicBezTo>
                    <a:pt x="276045" y="273234"/>
                    <a:pt x="273490" y="275788"/>
                    <a:pt x="269655" y="275788"/>
                  </a:cubicBezTo>
                  <a:lnTo>
                    <a:pt x="136745" y="275788"/>
                  </a:lnTo>
                  <a:cubicBezTo>
                    <a:pt x="132911" y="275788"/>
                    <a:pt x="130355" y="273234"/>
                    <a:pt x="130355" y="269404"/>
                  </a:cubicBezTo>
                  <a:lnTo>
                    <a:pt x="130355" y="232377"/>
                  </a:lnTo>
                  <a:lnTo>
                    <a:pt x="91376" y="232377"/>
                  </a:lnTo>
                  <a:cubicBezTo>
                    <a:pt x="87542" y="232377"/>
                    <a:pt x="84986" y="229823"/>
                    <a:pt x="84986" y="225993"/>
                  </a:cubicBezTo>
                  <a:lnTo>
                    <a:pt x="84986" y="93206"/>
                  </a:lnTo>
                  <a:cubicBezTo>
                    <a:pt x="84986" y="89376"/>
                    <a:pt x="87542" y="86822"/>
                    <a:pt x="91376" y="86822"/>
                  </a:cubicBezTo>
                  <a:lnTo>
                    <a:pt x="224287" y="86822"/>
                  </a:lnTo>
                  <a:cubicBezTo>
                    <a:pt x="228121" y="86822"/>
                    <a:pt x="230677" y="89376"/>
                    <a:pt x="230677" y="93206"/>
                  </a:cubicBezTo>
                  <a:lnTo>
                    <a:pt x="230677" y="130233"/>
                  </a:lnTo>
                  <a:lnTo>
                    <a:pt x="269655" y="130233"/>
                  </a:lnTo>
                  <a:cubicBezTo>
                    <a:pt x="273490" y="130233"/>
                    <a:pt x="276045" y="132787"/>
                    <a:pt x="276045" y="136617"/>
                  </a:cubicBezTo>
                  <a:lnTo>
                    <a:pt x="276045" y="269404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Graphic 4">
              <a:extLst>
                <a:ext uri="{FF2B5EF4-FFF2-40B4-BE49-F238E27FC236}">
                  <a16:creationId xmlns:a16="http://schemas.microsoft.com/office/drawing/2014/main" id="{201B0F9E-8401-49EC-83D6-A11B7C51A9CE}"/>
                </a:ext>
              </a:extLst>
            </p:cNvPr>
            <p:cNvSpPr/>
            <p:nvPr/>
          </p:nvSpPr>
          <p:spPr>
            <a:xfrm>
              <a:off x="5197574" y="3439213"/>
              <a:ext cx="120130" cy="120019"/>
            </a:xfrm>
            <a:custGeom>
              <a:avLst/>
              <a:gdLst>
                <a:gd name="connsiteX0" fmla="*/ 38978 w 120130"/>
                <a:gd name="connsiteY0" fmla="*/ 30643 h 120019"/>
                <a:gd name="connsiteX1" fmla="*/ 120131 w 120130"/>
                <a:gd name="connsiteY1" fmla="*/ 30643 h 120019"/>
                <a:gd name="connsiteX2" fmla="*/ 120131 w 120130"/>
                <a:gd name="connsiteY2" fmla="*/ 0 h 120019"/>
                <a:gd name="connsiteX3" fmla="*/ 0 w 120130"/>
                <a:gd name="connsiteY3" fmla="*/ 0 h 120019"/>
                <a:gd name="connsiteX4" fmla="*/ 0 w 120130"/>
                <a:gd name="connsiteY4" fmla="*/ 120019 h 120019"/>
                <a:gd name="connsiteX5" fmla="*/ 32589 w 120130"/>
                <a:gd name="connsiteY5" fmla="*/ 120019 h 120019"/>
                <a:gd name="connsiteX6" fmla="*/ 32589 w 120130"/>
                <a:gd name="connsiteY6" fmla="*/ 37027 h 120019"/>
                <a:gd name="connsiteX7" fmla="*/ 38978 w 120130"/>
                <a:gd name="connsiteY7" fmla="*/ 30643 h 12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130" h="120019">
                  <a:moveTo>
                    <a:pt x="38978" y="30643"/>
                  </a:moveTo>
                  <a:lnTo>
                    <a:pt x="120131" y="30643"/>
                  </a:lnTo>
                  <a:lnTo>
                    <a:pt x="120131" y="0"/>
                  </a:lnTo>
                  <a:lnTo>
                    <a:pt x="0" y="0"/>
                  </a:lnTo>
                  <a:lnTo>
                    <a:pt x="0" y="120019"/>
                  </a:lnTo>
                  <a:lnTo>
                    <a:pt x="32589" y="120019"/>
                  </a:lnTo>
                  <a:lnTo>
                    <a:pt x="32589" y="37027"/>
                  </a:lnTo>
                  <a:cubicBezTo>
                    <a:pt x="32589" y="33197"/>
                    <a:pt x="35145" y="30643"/>
                    <a:pt x="38978" y="30643"/>
                  </a:cubicBez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Graphic 4">
              <a:extLst>
                <a:ext uri="{FF2B5EF4-FFF2-40B4-BE49-F238E27FC236}">
                  <a16:creationId xmlns:a16="http://schemas.microsoft.com/office/drawing/2014/main" id="{991AFDA9-DE43-4D9A-9AE7-63BCF56E57FC}"/>
                </a:ext>
              </a:extLst>
            </p:cNvPr>
            <p:cNvSpPr/>
            <p:nvPr/>
          </p:nvSpPr>
          <p:spPr>
            <a:xfrm>
              <a:off x="5242943" y="3482625"/>
              <a:ext cx="120130" cy="120018"/>
            </a:xfrm>
            <a:custGeom>
              <a:avLst/>
              <a:gdLst>
                <a:gd name="connsiteX0" fmla="*/ 87542 w 120130"/>
                <a:gd name="connsiteY0" fmla="*/ 82992 h 120018"/>
                <a:gd name="connsiteX1" fmla="*/ 81152 w 120130"/>
                <a:gd name="connsiteY1" fmla="*/ 89376 h 120018"/>
                <a:gd name="connsiteX2" fmla="*/ 0 w 120130"/>
                <a:gd name="connsiteY2" fmla="*/ 89376 h 120018"/>
                <a:gd name="connsiteX3" fmla="*/ 0 w 120130"/>
                <a:gd name="connsiteY3" fmla="*/ 120019 h 120018"/>
                <a:gd name="connsiteX4" fmla="*/ 120131 w 120130"/>
                <a:gd name="connsiteY4" fmla="*/ 120019 h 120018"/>
                <a:gd name="connsiteX5" fmla="*/ 120131 w 120130"/>
                <a:gd name="connsiteY5" fmla="*/ 0 h 120018"/>
                <a:gd name="connsiteX6" fmla="*/ 87542 w 120130"/>
                <a:gd name="connsiteY6" fmla="*/ 0 h 120018"/>
                <a:gd name="connsiteX7" fmla="*/ 87542 w 120130"/>
                <a:gd name="connsiteY7" fmla="*/ 82992 h 120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0130" h="120018">
                  <a:moveTo>
                    <a:pt x="87542" y="82992"/>
                  </a:moveTo>
                  <a:cubicBezTo>
                    <a:pt x="87542" y="86822"/>
                    <a:pt x="84986" y="89376"/>
                    <a:pt x="81152" y="89376"/>
                  </a:cubicBezTo>
                  <a:lnTo>
                    <a:pt x="0" y="89376"/>
                  </a:lnTo>
                  <a:lnTo>
                    <a:pt x="0" y="120019"/>
                  </a:lnTo>
                  <a:lnTo>
                    <a:pt x="120131" y="120019"/>
                  </a:lnTo>
                  <a:lnTo>
                    <a:pt x="120131" y="0"/>
                  </a:lnTo>
                  <a:lnTo>
                    <a:pt x="87542" y="0"/>
                  </a:lnTo>
                  <a:lnTo>
                    <a:pt x="87542" y="82992"/>
                  </a:lnTo>
                  <a:close/>
                </a:path>
              </a:pathLst>
            </a:custGeom>
            <a:grpFill/>
            <a:ln w="63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42" name="object 3">
            <a:extLst>
              <a:ext uri="{FF2B5EF4-FFF2-40B4-BE49-F238E27FC236}">
                <a16:creationId xmlns:a16="http://schemas.microsoft.com/office/drawing/2014/main" id="{C5EAAEF2-00F7-4FF9-A726-2DC37A6AA1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83339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ject 3">
            <a:extLst>
              <a:ext uri="{FF2B5EF4-FFF2-40B4-BE49-F238E27FC236}">
                <a16:creationId xmlns:a16="http://schemas.microsoft.com/office/drawing/2014/main" id="{C862C195-3D95-4FA3-847D-4E508ADAAD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  <p:sp>
        <p:nvSpPr>
          <p:cNvPr id="14" name="object 12">
            <a:extLst>
              <a:ext uri="{FF2B5EF4-FFF2-40B4-BE49-F238E27FC236}">
                <a16:creationId xmlns:a16="http://schemas.microsoft.com/office/drawing/2014/main" id="{518583EE-0EA0-4FC5-BB2C-FC2C5501CB9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4500" y="294516"/>
            <a:ext cx="10210544" cy="656590"/>
          </a:xfrm>
          <a:prstGeom prst="rect">
            <a:avLst/>
          </a:prstGeom>
        </p:spPr>
        <p:txBody>
          <a:bodyPr vert="horz" wrap="square" lIns="0" tIns="32384" rIns="0" bIns="0" rtlCol="0">
            <a:spAutoFit/>
          </a:bodyPr>
          <a:lstStyle/>
          <a:p>
            <a:pPr marL="18415">
              <a:lnSpc>
                <a:spcPct val="100000"/>
              </a:lnSpc>
              <a:spcBef>
                <a:spcPts val="254"/>
              </a:spcBef>
            </a:pPr>
            <a:r>
              <a:rPr lang="en-US" sz="2100" spc="-20" dirty="0"/>
              <a:t>Meet Your Facilitator</a:t>
            </a:r>
            <a:endParaRPr sz="2100" dirty="0"/>
          </a:p>
          <a:p>
            <a:pPr marL="18415">
              <a:lnSpc>
                <a:spcPct val="100000"/>
              </a:lnSpc>
              <a:spcBef>
                <a:spcPts val="130"/>
              </a:spcBef>
            </a:pPr>
            <a:r>
              <a:rPr lang="en-US" sz="1800" b="0" dirty="0">
                <a:solidFill>
                  <a:srgbClr val="52555A"/>
                </a:solidFill>
                <a:latin typeface="Calibri"/>
                <a:cs typeface="Calibri"/>
              </a:rPr>
              <a:t>PDE ESSER Monitoring Team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04507F0-2716-490A-BF21-264826473070}"/>
              </a:ext>
            </a:extLst>
          </p:cNvPr>
          <p:cNvSpPr/>
          <p:nvPr/>
        </p:nvSpPr>
        <p:spPr>
          <a:xfrm>
            <a:off x="1394936" y="1688672"/>
            <a:ext cx="1280160" cy="1865991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ession Facilitator</a:t>
            </a:r>
          </a:p>
        </p:txBody>
      </p:sp>
      <p:pic>
        <p:nvPicPr>
          <p:cNvPr id="16" name="Picture Placeholder 38" descr="Chrystina Cappello headshot">
            <a:extLst>
              <a:ext uri="{FF2B5EF4-FFF2-40B4-BE49-F238E27FC236}">
                <a16:creationId xmlns:a16="http://schemas.microsoft.com/office/drawing/2014/main" id="{160BCAE7-3E70-4344-9384-93EF8DFBFD4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43584" y="1911730"/>
            <a:ext cx="1280160" cy="1280160"/>
          </a:xfrm>
          <a:prstGeom prst="ellipse">
            <a:avLst/>
          </a:prstGeom>
          <a:noFill/>
          <a:ln w="38100">
            <a:solidFill>
              <a:schemeClr val="accent5"/>
            </a:solidFill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05DC746-3F36-4713-8566-4FFF21F41D0D}"/>
              </a:ext>
            </a:extLst>
          </p:cNvPr>
          <p:cNvSpPr/>
          <p:nvPr/>
        </p:nvSpPr>
        <p:spPr>
          <a:xfrm>
            <a:off x="4437573" y="1967012"/>
            <a:ext cx="2078856" cy="1158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hrystina Cappello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lang="en-US" sz="1200" b="1" kern="1200" dirty="0">
                <a:solidFill>
                  <a:srgbClr val="FFFFFF">
                    <a:lumMod val="65000"/>
                  </a:srgbClr>
                </a:solidFill>
                <a:latin typeface="Open Sans"/>
                <a:ea typeface="+mn-ea"/>
                <a:cs typeface="Arial" charset="0"/>
              </a:rPr>
              <a:t>ESSER Monitoring Lead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lang="en-US" sz="1200" kern="1200" dirty="0">
                <a:solidFill>
                  <a:srgbClr val="FFFFFF">
                    <a:lumMod val="65000"/>
                  </a:srgbClr>
                </a:solidFill>
                <a:latin typeface="Open Sans"/>
                <a:ea typeface="+mn-ea"/>
                <a:cs typeface="Arial" charset="0"/>
              </a:rPr>
              <a:t>Deloitte &amp; Touche LLP</a:t>
            </a:r>
          </a:p>
        </p:txBody>
      </p:sp>
      <p:pic>
        <p:nvPicPr>
          <p:cNvPr id="28" name="Picture Placeholder 38" descr="Headshot of Bobbie Harper, ESSER Monitoring Manager, Deloitte &amp; Touche LLP.">
            <a:extLst>
              <a:ext uri="{FF2B5EF4-FFF2-40B4-BE49-F238E27FC236}">
                <a16:creationId xmlns:a16="http://schemas.microsoft.com/office/drawing/2014/main" id="{70015A95-85EF-402A-9B85-959A90D6181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65807" y="1914149"/>
            <a:ext cx="1280160" cy="1280160"/>
          </a:xfrm>
          <a:prstGeom prst="ellipse">
            <a:avLst/>
          </a:prstGeom>
          <a:noFill/>
          <a:ln w="38100">
            <a:solidFill>
              <a:schemeClr val="accent5"/>
            </a:solidFill>
          </a:ln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43F8AA6A-6426-4E19-8A15-1331132595E9}"/>
              </a:ext>
            </a:extLst>
          </p:cNvPr>
          <p:cNvSpPr/>
          <p:nvPr/>
        </p:nvSpPr>
        <p:spPr>
          <a:xfrm>
            <a:off x="8468506" y="1921970"/>
            <a:ext cx="1918185" cy="1047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obbie Harper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lang="en-US" sz="1200" b="1" kern="1200" dirty="0">
                <a:solidFill>
                  <a:srgbClr val="FFFFFF">
                    <a:lumMod val="65000"/>
                  </a:srgbClr>
                </a:solidFill>
                <a:latin typeface="Open Sans"/>
                <a:ea typeface="+mn-ea"/>
                <a:cs typeface="Arial" charset="0"/>
              </a:rPr>
              <a:t>ESSER Monitoring Manager</a:t>
            </a:r>
          </a:p>
          <a:p>
            <a:pPr lvl="1" algn="l" rtl="0" ea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SzPct val="100000"/>
              <a:tabLst>
                <a:tab pos="1544187" algn="l"/>
              </a:tabLst>
              <a:defRPr/>
            </a:pPr>
            <a:r>
              <a:rPr lang="en-US" sz="1200" kern="1200" dirty="0">
                <a:solidFill>
                  <a:srgbClr val="FFFFFF">
                    <a:lumMod val="65000"/>
                  </a:srgbClr>
                </a:solidFill>
                <a:latin typeface="Open Sans"/>
                <a:ea typeface="+mn-ea"/>
                <a:cs typeface="Arial" charset="0"/>
              </a:rPr>
              <a:t>Deloitte &amp; Touche LLP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30990F5-1D1F-4694-9CE2-457FD3AE1C1F}"/>
              </a:ext>
            </a:extLst>
          </p:cNvPr>
          <p:cNvSpPr/>
          <p:nvPr/>
        </p:nvSpPr>
        <p:spPr>
          <a:xfrm>
            <a:off x="1394936" y="3554663"/>
            <a:ext cx="1280160" cy="186598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ere With Us Today</a:t>
            </a:r>
          </a:p>
        </p:txBody>
      </p:sp>
      <p:cxnSp>
        <p:nvCxnSpPr>
          <p:cNvPr id="25" name="Straight Connector 24" descr="Line Separator. ">
            <a:extLst>
              <a:ext uri="{FF2B5EF4-FFF2-40B4-BE49-F238E27FC236}">
                <a16:creationId xmlns:a16="http://schemas.microsoft.com/office/drawing/2014/main" id="{B048D76D-AA5E-4904-8912-37F9305DAA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402480" y="3554666"/>
            <a:ext cx="9052560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Placeholder 38" descr="Headshot of Susan McCrone, Federal Programs Division Chief, PDE">
            <a:extLst>
              <a:ext uri="{FF2B5EF4-FFF2-40B4-BE49-F238E27FC236}">
                <a16:creationId xmlns:a16="http://schemas.microsoft.com/office/drawing/2014/main" id="{9F914708-3E17-4E70-86D6-B73EBE5B0C4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43584" y="3899054"/>
            <a:ext cx="1280160" cy="1280160"/>
          </a:xfrm>
          <a:prstGeom prst="ellipse">
            <a:avLst/>
          </a:prstGeom>
          <a:noFill/>
          <a:ln w="38100">
            <a:solidFill>
              <a:srgbClr val="4C7E40"/>
            </a:solidFill>
          </a:ln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79BE9DED-2DD8-4443-B8B8-58E8ED83BB33}"/>
              </a:ext>
            </a:extLst>
          </p:cNvPr>
          <p:cNvSpPr/>
          <p:nvPr/>
        </p:nvSpPr>
        <p:spPr>
          <a:xfrm>
            <a:off x="4437573" y="3954336"/>
            <a:ext cx="2078856" cy="1047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C7E4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san McCrone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 charset="0"/>
              </a:rPr>
              <a:t>Federal Programs Division Chief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 charset="0"/>
              </a:rPr>
              <a:t>PDE</a:t>
            </a:r>
          </a:p>
        </p:txBody>
      </p:sp>
      <p:pic>
        <p:nvPicPr>
          <p:cNvPr id="32" name="Picture Placeholder 38" descr="Julie Patton, Director of Compliance, PDE">
            <a:extLst>
              <a:ext uri="{FF2B5EF4-FFF2-40B4-BE49-F238E27FC236}">
                <a16:creationId xmlns:a16="http://schemas.microsoft.com/office/drawing/2014/main" id="{23628929-5600-4B4A-BCE7-6718C5A6598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grayscl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65807" y="3901473"/>
            <a:ext cx="1280160" cy="1280160"/>
          </a:xfrm>
          <a:prstGeom prst="ellipse">
            <a:avLst/>
          </a:prstGeom>
          <a:noFill/>
          <a:ln w="38100">
            <a:solidFill>
              <a:srgbClr val="4C7E40"/>
            </a:solidFill>
          </a:ln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04A7A6A-C47D-4C2E-899D-D9BCEB3CD6DD}"/>
              </a:ext>
            </a:extLst>
          </p:cNvPr>
          <p:cNvSpPr/>
          <p:nvPr/>
        </p:nvSpPr>
        <p:spPr>
          <a:xfrm>
            <a:off x="8468506" y="3909294"/>
            <a:ext cx="1986534" cy="8812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C7E40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Julie Patton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 charset="0"/>
              </a:rPr>
              <a:t>Director of Compliance</a:t>
            </a:r>
          </a:p>
          <a:p>
            <a:pPr marL="0" marR="0" lvl="1" indent="0" algn="l" defTabSz="914400" rtl="0" eaLnBrk="0" fontAlgn="auto" latinLnBrk="0" hangingPunct="0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Tx/>
              <a:buSzPct val="100000"/>
              <a:buFontTx/>
              <a:buNone/>
              <a:tabLst>
                <a:tab pos="1544187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 charset="0"/>
              </a:rPr>
              <a:t>PDE</a:t>
            </a:r>
          </a:p>
        </p:txBody>
      </p:sp>
    </p:spTree>
    <p:extLst>
      <p:ext uri="{BB962C8B-B14F-4D97-AF65-F5344CB8AC3E}">
        <p14:creationId xmlns:p14="http://schemas.microsoft.com/office/powerpoint/2010/main" val="3200812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95ADB1-C683-4BD5-B9AC-5851452C37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78" y="1683756"/>
            <a:ext cx="3115265" cy="2396359"/>
          </a:xfrm>
        </p:spPr>
        <p:txBody>
          <a:bodyPr anchor="b">
            <a:normAutofit/>
          </a:bodyPr>
          <a:lstStyle/>
          <a:p>
            <a:pPr marL="17145" algn="r">
              <a:spcBef>
                <a:spcPts val="229"/>
              </a:spcBef>
            </a:pPr>
            <a:r>
              <a:rPr lang="en-US" sz="4000" b="1">
                <a:solidFill>
                  <a:srgbClr val="FFFFFF"/>
                </a:solidFill>
                <a:latin typeface="Calibri"/>
                <a:cs typeface="Calibri"/>
              </a:rPr>
              <a:t>Agenda</a:t>
            </a:r>
            <a:endParaRPr lang="en-US" sz="4000">
              <a:solidFill>
                <a:srgbClr val="FFFFFF"/>
              </a:solidFill>
              <a:latin typeface="Calibri"/>
              <a:cs typeface="Calibri"/>
            </a:endParaRPr>
          </a:p>
        </p:txBody>
      </p:sp>
      <p:pic>
        <p:nvPicPr>
          <p:cNvPr id="6" name="object 3">
            <a:extLst>
              <a:ext uri="{FF2B5EF4-FFF2-40B4-BE49-F238E27FC236}">
                <a16:creationId xmlns:a16="http://schemas.microsoft.com/office/drawing/2014/main" id="{233E857B-B75B-4145-8062-74A39AC1E1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  <p:graphicFrame>
        <p:nvGraphicFramePr>
          <p:cNvPr id="42" name="Text Placeholder 2" descr="A detailed breakdown of the agenda that breaks each of the three main topics into smaller sub-categories. &#10;&#10;">
            <a:extLst>
              <a:ext uri="{FF2B5EF4-FFF2-40B4-BE49-F238E27FC236}">
                <a16:creationId xmlns:a16="http://schemas.microsoft.com/office/drawing/2014/main" id="{5277FF11-C8F9-8E74-3497-50BF425AD6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7258438"/>
              </p:ext>
            </p:extLst>
          </p:nvPr>
        </p:nvGraphicFramePr>
        <p:xfrm>
          <a:off x="4905052" y="750440"/>
          <a:ext cx="6666833" cy="54539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8C73F2B3-B848-4A4F-87FE-E8BE757FB9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rgbClr val="62B5E5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-381000" y="0"/>
            <a:ext cx="4331643" cy="6858000"/>
          </a:xfrm>
          <a:prstGeom prst="roundRect">
            <a:avLst>
              <a:gd name="adj" fmla="val 8594"/>
            </a:avLst>
          </a:prstGeom>
          <a:solidFill>
            <a:srgbClr val="86BC25"/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4863758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FFEF450-C040-4C8D-8820-088F457B510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85799" y="914400"/>
            <a:ext cx="9436395" cy="225742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SER Monitoring: Your Friendly Neighborhood Monitor</a:t>
            </a:r>
          </a:p>
        </p:txBody>
      </p:sp>
    </p:spTree>
    <p:extLst>
      <p:ext uri="{BB962C8B-B14F-4D97-AF65-F5344CB8AC3E}">
        <p14:creationId xmlns:p14="http://schemas.microsoft.com/office/powerpoint/2010/main" val="340876963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3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754149" y="2352675"/>
            <a:ext cx="600075" cy="276225"/>
          </a:xfrm>
          <a:custGeom>
            <a:avLst/>
            <a:gdLst/>
            <a:ahLst/>
            <a:cxnLst/>
            <a:rect l="l" t="t" r="r" b="b"/>
            <a:pathLst>
              <a:path w="600075" h="276225">
                <a:moveTo>
                  <a:pt x="450062" y="0"/>
                </a:moveTo>
                <a:lnTo>
                  <a:pt x="391666" y="2171"/>
                </a:lnTo>
                <a:lnTo>
                  <a:pt x="343979" y="8091"/>
                </a:lnTo>
                <a:lnTo>
                  <a:pt x="311827" y="16871"/>
                </a:lnTo>
                <a:lnTo>
                  <a:pt x="288247" y="38373"/>
                </a:lnTo>
                <a:lnTo>
                  <a:pt x="256097" y="47153"/>
                </a:lnTo>
                <a:lnTo>
                  <a:pt x="208413" y="53073"/>
                </a:lnTo>
                <a:lnTo>
                  <a:pt x="150025" y="55245"/>
                </a:lnTo>
                <a:lnTo>
                  <a:pt x="91629" y="53073"/>
                </a:lnTo>
                <a:lnTo>
                  <a:pt x="43942" y="47153"/>
                </a:lnTo>
                <a:lnTo>
                  <a:pt x="11789" y="38373"/>
                </a:lnTo>
                <a:lnTo>
                  <a:pt x="0" y="27622"/>
                </a:lnTo>
                <a:lnTo>
                  <a:pt x="0" y="248602"/>
                </a:lnTo>
                <a:lnTo>
                  <a:pt x="11789" y="259353"/>
                </a:lnTo>
                <a:lnTo>
                  <a:pt x="43941" y="268133"/>
                </a:lnTo>
                <a:lnTo>
                  <a:pt x="91629" y="274053"/>
                </a:lnTo>
                <a:lnTo>
                  <a:pt x="150025" y="276225"/>
                </a:lnTo>
                <a:lnTo>
                  <a:pt x="208413" y="274053"/>
                </a:lnTo>
                <a:lnTo>
                  <a:pt x="256097" y="268133"/>
                </a:lnTo>
                <a:lnTo>
                  <a:pt x="288247" y="259353"/>
                </a:lnTo>
                <a:lnTo>
                  <a:pt x="311827" y="237851"/>
                </a:lnTo>
                <a:lnTo>
                  <a:pt x="343979" y="229071"/>
                </a:lnTo>
                <a:lnTo>
                  <a:pt x="391666" y="223151"/>
                </a:lnTo>
                <a:lnTo>
                  <a:pt x="450062" y="220980"/>
                </a:lnTo>
                <a:lnTo>
                  <a:pt x="508451" y="223151"/>
                </a:lnTo>
                <a:lnTo>
                  <a:pt x="556134" y="229071"/>
                </a:lnTo>
                <a:lnTo>
                  <a:pt x="588285" y="237851"/>
                </a:lnTo>
                <a:lnTo>
                  <a:pt x="600075" y="248602"/>
                </a:lnTo>
                <a:lnTo>
                  <a:pt x="600075" y="27622"/>
                </a:lnTo>
                <a:lnTo>
                  <a:pt x="588285" y="16871"/>
                </a:lnTo>
                <a:lnTo>
                  <a:pt x="556134" y="8091"/>
                </a:lnTo>
                <a:lnTo>
                  <a:pt x="508451" y="2171"/>
                </a:lnTo>
                <a:lnTo>
                  <a:pt x="450062" y="0"/>
                </a:lnTo>
                <a:close/>
              </a:path>
            </a:pathLst>
          </a:custGeom>
          <a:solidFill>
            <a:srgbClr val="FFFF00">
              <a:alpha val="30194"/>
            </a:srgbClr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 idx="4294967295"/>
          </p:nvPr>
        </p:nvSpPr>
        <p:spPr>
          <a:xfrm>
            <a:off x="450594" y="300688"/>
            <a:ext cx="9474456" cy="64248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29209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SER</a:t>
            </a:r>
            <a:r>
              <a:rPr kumimoji="0" lang="en-US" sz="2100" b="1" i="0" u="none" strike="noStrike" kern="0" cap="none" spc="-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nt</a:t>
            </a:r>
            <a:r>
              <a:rPr kumimoji="0" lang="en-US" sz="2100" b="1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nding</a:t>
            </a:r>
            <a:r>
              <a:rPr kumimoji="0" lang="en-US" sz="2100" b="1" i="0" u="none" strike="noStrike" kern="0" cap="none" spc="-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s NOT</a:t>
            </a:r>
            <a:r>
              <a:rPr kumimoji="0" lang="en-US" sz="2100" b="1" i="0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“business</a:t>
            </a:r>
            <a:r>
              <a:rPr kumimoji="0" lang="en-US" sz="2100" b="1" i="0" u="none" strike="noStrike" kern="0" cap="none" spc="-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s</a:t>
            </a:r>
            <a:r>
              <a:rPr kumimoji="0" lang="en-US" sz="2100" b="1" i="0" u="none" strike="noStrike" kern="0" cap="none" spc="-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en-US" sz="21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ual”</a:t>
            </a: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Allowable</a:t>
            </a:r>
            <a:r>
              <a:rPr kumimoji="0" lang="en-US" sz="1800" b="0" i="0" u="none" strike="noStrike" kern="0" cap="none" spc="-175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uses</a:t>
            </a:r>
            <a:r>
              <a:rPr kumimoji="0" lang="en-US" sz="1800" b="0" i="0" u="none" strike="noStrike" kern="0" cap="none" spc="-35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for</a:t>
            </a:r>
            <a:r>
              <a:rPr kumimoji="0" lang="en-US" sz="1800" b="0" i="0" u="none" strike="noStrike" kern="0" cap="none" spc="135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ESSER</a:t>
            </a:r>
            <a:r>
              <a:rPr kumimoji="0" lang="en-US" sz="1800" b="0" i="0" u="none" strike="noStrike" kern="0" cap="none" spc="-85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funds</a:t>
            </a:r>
            <a:r>
              <a:rPr kumimoji="0" lang="en-US" sz="1800" b="0" i="0" u="none" strike="noStrike" kern="0" cap="none" spc="-3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varied</a:t>
            </a:r>
            <a:r>
              <a:rPr kumimoji="0" lang="en-US" sz="1800" b="0" i="0" u="none" strike="noStrike" kern="0" cap="none" spc="-5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greatly</a:t>
            </a:r>
            <a:r>
              <a:rPr kumimoji="0" lang="en-US" sz="1800" b="0" i="0" u="none" strike="noStrike" kern="0" cap="none" spc="1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from</a:t>
            </a:r>
            <a:r>
              <a:rPr kumimoji="0" lang="en-US" sz="1800" b="0" i="0" u="none" strike="noStrike" kern="0" cap="none" spc="-2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annual</a:t>
            </a:r>
            <a:r>
              <a:rPr kumimoji="0" lang="en-US" sz="1800" b="0" i="0" u="none" strike="noStrike" kern="0" cap="none" spc="-12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recurring</a:t>
            </a:r>
            <a:r>
              <a:rPr kumimoji="0" lang="en-US" sz="1800" b="0" i="0" u="none" strike="noStrike" kern="0" cap="none" spc="6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grant</a:t>
            </a:r>
            <a:r>
              <a:rPr kumimoji="0" lang="en-US" sz="1800" b="0" i="0" u="none" strike="noStrike" kern="0" cap="none" spc="-5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-1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program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grpSp>
        <p:nvGrpSpPr>
          <p:cNvPr id="4" name="object 4" descr="Total annual grant funding administered by PDE Before ESSER = $800M.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600075" y="1952625"/>
            <a:ext cx="1247775" cy="923925"/>
            <a:chOff x="600075" y="1952625"/>
            <a:chExt cx="1247775" cy="923925"/>
          </a:xfrm>
        </p:grpSpPr>
        <p:pic>
          <p:nvPicPr>
            <p:cNvPr id="5" name="object 5"/>
            <p:cNvPicPr/>
            <p:nvPr/>
          </p:nvPicPr>
          <p:blipFill>
            <a:blip r:embed="rId3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704850" y="1952625"/>
              <a:ext cx="1143000" cy="371475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4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38175" y="2143125"/>
              <a:ext cx="1209675" cy="371475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76275" y="2324100"/>
              <a:ext cx="1123950" cy="371475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6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00075" y="2505075"/>
              <a:ext cx="733425" cy="371475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7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095375" y="2505075"/>
              <a:ext cx="752475" cy="371475"/>
            </a:xfrm>
            <a:prstGeom prst="rect">
              <a:avLst/>
            </a:prstGeom>
          </p:spPr>
        </p:pic>
      </p:grpSp>
      <p:grpSp>
        <p:nvGrpSpPr>
          <p:cNvPr id="21" name="object 21" descr="Total annual grant funding administered by PDE AFTER ESSER = roughly $8B."/>
          <p:cNvGrpSpPr/>
          <p:nvPr/>
        </p:nvGrpSpPr>
        <p:grpSpPr>
          <a:xfrm>
            <a:off x="6001674" y="1581150"/>
            <a:ext cx="1600200" cy="1447800"/>
            <a:chOff x="5991225" y="1600200"/>
            <a:chExt cx="1600200" cy="1447800"/>
          </a:xfrm>
        </p:grpSpPr>
        <p:pic>
          <p:nvPicPr>
            <p:cNvPr id="22" name="object 22"/>
            <p:cNvPicPr/>
            <p:nvPr/>
          </p:nvPicPr>
          <p:blipFill>
            <a:blip r:embed="rId8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067425" y="1600200"/>
              <a:ext cx="1504950" cy="476250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9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000750" y="1838325"/>
              <a:ext cx="1590675" cy="476250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10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048375" y="2085975"/>
              <a:ext cx="1476362" cy="476250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11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991225" y="2333637"/>
              <a:ext cx="952500" cy="476237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12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648450" y="2333637"/>
              <a:ext cx="857250" cy="476237"/>
            </a:xfrm>
            <a:prstGeom prst="rect">
              <a:avLst/>
            </a:prstGeom>
          </p:spPr>
        </p:pic>
        <p:pic>
          <p:nvPicPr>
            <p:cNvPr id="27" name="object 27"/>
            <p:cNvPicPr/>
            <p:nvPr/>
          </p:nvPicPr>
          <p:blipFill>
            <a:blip r:embed="rId13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762750" y="2571750"/>
              <a:ext cx="619112" cy="66675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14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353175" y="2571750"/>
              <a:ext cx="790575" cy="476250"/>
            </a:xfrm>
            <a:prstGeom prst="rect">
              <a:avLst/>
            </a:prstGeom>
          </p:spPr>
        </p:pic>
      </p:grpSp>
      <p:sp>
        <p:nvSpPr>
          <p:cNvPr id="71" name="object 71"/>
          <p:cNvSpPr txBox="1"/>
          <p:nvPr/>
        </p:nvSpPr>
        <p:spPr>
          <a:xfrm>
            <a:off x="1169716" y="6058799"/>
            <a:ext cx="6995067" cy="289823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ESSER</a:t>
            </a:r>
            <a:r>
              <a:rPr kumimoji="0" sz="1800" b="0" i="0" u="none" strike="noStrike" kern="0" cap="none" spc="25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8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funded</a:t>
            </a:r>
            <a:r>
              <a:rPr kumimoji="0" sz="1800" b="0" i="0" u="none" strike="noStrike" kern="0" cap="none" spc="-4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75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a</a:t>
            </a:r>
            <a:r>
              <a:rPr kumimoji="0" sz="1800" b="0" i="0" u="none" strike="noStrike" kern="0" cap="none" spc="16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7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SIGNIFICANT</a:t>
            </a:r>
            <a:r>
              <a:rPr kumimoji="0" sz="1800" b="0" i="0" u="none" strike="noStrike" kern="0" cap="none" spc="75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portion</a:t>
            </a:r>
            <a:r>
              <a:rPr kumimoji="0" sz="1800" b="0" i="0" u="none" strike="noStrike" kern="0" cap="none" spc="2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8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of</a:t>
            </a:r>
            <a:r>
              <a:rPr kumimoji="0" sz="1800" b="0" i="0" u="none" strike="noStrike" kern="0" cap="none" spc="105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these</a:t>
            </a:r>
            <a:r>
              <a:rPr kumimoji="0" sz="1800" b="0" i="0" u="none" strike="noStrike" kern="0" cap="none" spc="35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unique</a:t>
            </a:r>
            <a:r>
              <a:rPr kumimoji="0" sz="1800" b="0" i="0" u="none" strike="noStrike" kern="0" cap="none" spc="35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sz="1800" b="0" i="0" u="none" strike="noStrike" kern="0" cap="none" spc="-10" normalizeH="0" baseline="0" noProof="0" dirty="0">
                <a:ln>
                  <a:noFill/>
                </a:ln>
                <a:solidFill>
                  <a:srgbClr val="005486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activities</a:t>
            </a:r>
            <a:r>
              <a:rPr lang="en-US" spc="-10" dirty="0">
                <a:solidFill>
                  <a:srgbClr val="005486"/>
                </a:solidFill>
                <a:latin typeface="Open Sans"/>
                <a:ea typeface="Open Sans"/>
                <a:cs typeface="Open Sans"/>
              </a:rPr>
              <a:t>.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2" name="object 2" descr="Impacts to education, investments in technology and training to avoid learning loss, construction and capital projects, investments in historically underserved groups, and planning of reopening of schools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9068619"/>
              </p:ext>
            </p:extLst>
          </p:nvPr>
        </p:nvGraphicFramePr>
        <p:xfrm>
          <a:off x="561430" y="4303319"/>
          <a:ext cx="7930515" cy="162242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271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265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7034">
                <a:tc>
                  <a:txBody>
                    <a:bodyPr/>
                    <a:lstStyle/>
                    <a:p>
                      <a:pPr marL="269240" marR="238760" indent="-123825">
                        <a:lnSpc>
                          <a:spcPts val="1420"/>
                        </a:lnSpc>
                        <a:spcBef>
                          <a:spcPts val="26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A global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pandemic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shut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down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the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205740" marR="113030" indent="-85725">
                        <a:lnSpc>
                          <a:spcPts val="1420"/>
                        </a:lnSpc>
                        <a:spcBef>
                          <a:spcPts val="265"/>
                        </a:spcBef>
                      </a:pPr>
                      <a:r>
                        <a:rPr sz="1200">
                          <a:latin typeface="Calibri"/>
                          <a:cs typeface="Calibri"/>
                        </a:rPr>
                        <a:t>With</a:t>
                      </a:r>
                      <a:r>
                        <a:rPr sz="1200" spc="-7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students</a:t>
                      </a:r>
                      <a:r>
                        <a:rPr sz="1200" spc="1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stuck</a:t>
                      </a:r>
                      <a:r>
                        <a:rPr sz="1200" spc="-7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at </a:t>
                      </a:r>
                      <a:r>
                        <a:rPr sz="1200">
                          <a:latin typeface="Calibri"/>
                          <a:cs typeface="Calibri"/>
                        </a:rPr>
                        <a:t>home</a:t>
                      </a:r>
                      <a:r>
                        <a:rPr sz="1200" spc="1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with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 parents,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186690" marR="179070">
                        <a:lnSpc>
                          <a:spcPts val="1420"/>
                        </a:lnSpc>
                        <a:spcBef>
                          <a:spcPts val="265"/>
                        </a:spcBef>
                      </a:pPr>
                      <a:r>
                        <a:rPr sz="120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-7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make</a:t>
                      </a:r>
                      <a:r>
                        <a:rPr sz="1200" spc="1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classrooms safter,</a:t>
                      </a:r>
                      <a:r>
                        <a:rPr sz="1200" spc="-6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ESSER</a:t>
                      </a:r>
                      <a:r>
                        <a:rPr sz="1200" spc="-5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>
                          <a:latin typeface="Calibri"/>
                          <a:cs typeface="Calibri"/>
                        </a:rPr>
                        <a:t>funded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358775" marR="103505" indent="-266700">
                        <a:lnSpc>
                          <a:spcPts val="1420"/>
                        </a:lnSpc>
                        <a:spcBef>
                          <a:spcPts val="265"/>
                        </a:spcBef>
                      </a:pPr>
                      <a:r>
                        <a:rPr sz="1200">
                          <a:latin typeface="Calibri"/>
                          <a:cs typeface="Calibri"/>
                        </a:rPr>
                        <a:t>Significant</a:t>
                      </a:r>
                      <a:r>
                        <a:rPr sz="1200" spc="-3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investments </a:t>
                      </a:r>
                      <a:r>
                        <a:rPr sz="1200">
                          <a:latin typeface="Calibri"/>
                          <a:cs typeface="Calibri"/>
                        </a:rPr>
                        <a:t>were</a:t>
                      </a:r>
                      <a:r>
                        <a:rPr sz="1200" spc="-4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made</a:t>
                      </a:r>
                      <a:r>
                        <a:rPr sz="1200" spc="2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for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273050" indent="-180975">
                        <a:lnSpc>
                          <a:spcPct val="104200"/>
                        </a:lnSpc>
                        <a:spcBef>
                          <a:spcPts val="125"/>
                        </a:spcBef>
                      </a:pPr>
                      <a:r>
                        <a:rPr sz="1200" spc="5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Strategic</a:t>
                      </a:r>
                      <a:r>
                        <a:rPr sz="1200" spc="3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4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planning</a:t>
                      </a:r>
                      <a:r>
                        <a:rPr sz="1200" spc="6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60">
                          <a:latin typeface="Calibri"/>
                          <a:cs typeface="Calibri"/>
                        </a:rPr>
                        <a:t>for </a:t>
                      </a:r>
                      <a:r>
                        <a:rPr sz="1200">
                          <a:latin typeface="Calibri"/>
                          <a:cs typeface="Calibri"/>
                        </a:rPr>
                        <a:t>safe</a:t>
                      </a:r>
                      <a:r>
                        <a:rPr sz="1200" spc="-4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reopening</a:t>
                      </a:r>
                      <a:r>
                        <a:rPr sz="1200" spc="7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of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15875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3515">
                <a:tc>
                  <a:txBody>
                    <a:bodyPr/>
                    <a:lstStyle/>
                    <a:p>
                      <a:pPr marL="145415">
                        <a:lnSpc>
                          <a:spcPts val="1345"/>
                        </a:lnSpc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economy</a:t>
                      </a:r>
                      <a:r>
                        <a:rPr sz="1200" spc="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nd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took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45"/>
                        </a:lnSpc>
                      </a:pPr>
                      <a:r>
                        <a:rPr sz="1200" spc="-10">
                          <a:latin typeface="Calibri"/>
                          <a:cs typeface="Calibri"/>
                        </a:rPr>
                        <a:t>educators</a:t>
                      </a:r>
                      <a:r>
                        <a:rPr sz="1200" spc="4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had</a:t>
                      </a:r>
                      <a:r>
                        <a:rPr sz="1200" spc="-3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to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95"/>
                        </a:lnSpc>
                      </a:pPr>
                      <a:r>
                        <a:rPr sz="120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construction</a:t>
                      </a:r>
                      <a:r>
                        <a:rPr sz="1200" spc="49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6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and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434975">
                        <a:lnSpc>
                          <a:spcPts val="1295"/>
                        </a:lnSpc>
                      </a:pPr>
                      <a:r>
                        <a:rPr sz="1200" spc="3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historically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88900" algn="ctr">
                        <a:lnSpc>
                          <a:spcPts val="134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school</a:t>
                      </a:r>
                      <a:r>
                        <a:rPr sz="1200" spc="-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operations</a:t>
                      </a:r>
                      <a:r>
                        <a:rPr sz="1200" spc="3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was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7960">
                <a:tc>
                  <a:txBody>
                    <a:bodyPr/>
                    <a:lstStyle/>
                    <a:p>
                      <a:pPr marL="31750">
                        <a:lnSpc>
                          <a:spcPts val="1275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students</a:t>
                      </a:r>
                      <a:r>
                        <a:rPr sz="1200" spc="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5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out</a:t>
                      </a:r>
                      <a:r>
                        <a:rPr sz="1200" spc="3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5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of</a:t>
                      </a:r>
                      <a:r>
                        <a:rPr sz="1200" spc="1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their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7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invest</a:t>
                      </a:r>
                      <a:r>
                        <a:rPr sz="1200" spc="-6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in</a:t>
                      </a:r>
                      <a:r>
                        <a:rPr sz="1200" spc="2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remote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ts val="1275"/>
                        </a:lnSpc>
                      </a:pPr>
                      <a:r>
                        <a:rPr sz="1200" spc="7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capital</a:t>
                      </a:r>
                      <a:r>
                        <a:rPr sz="1200" spc="2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projects</a:t>
                      </a:r>
                      <a:r>
                        <a:rPr sz="1200" spc="8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to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102235" algn="r">
                        <a:lnSpc>
                          <a:spcPts val="1275"/>
                        </a:lnSpc>
                      </a:pPr>
                      <a:r>
                        <a:rPr sz="120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underserved</a:t>
                      </a:r>
                      <a:r>
                        <a:rPr sz="1200" spc="3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groups</a:t>
                      </a:r>
                      <a:r>
                        <a:rPr sz="1200" spc="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of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100965" algn="ctr">
                        <a:lnSpc>
                          <a:spcPts val="1380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eligible</a:t>
                      </a:r>
                      <a:r>
                        <a:rPr sz="1200" spc="2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for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60325">
                        <a:lnSpc>
                          <a:spcPts val="1290"/>
                        </a:lnSpc>
                      </a:pPr>
                      <a:r>
                        <a:rPr sz="120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classrooms</a:t>
                      </a:r>
                      <a:r>
                        <a:rPr sz="1200" spc="12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requiring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90"/>
                        </a:lnSpc>
                      </a:pPr>
                      <a:r>
                        <a:rPr sz="1200" spc="5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learning</a:t>
                      </a:r>
                      <a:r>
                        <a:rPr sz="1200" spc="7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technology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,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5080" algn="ctr">
                        <a:lnSpc>
                          <a:spcPts val="1345"/>
                        </a:lnSpc>
                      </a:pPr>
                      <a:r>
                        <a:rPr sz="1200" spc="-10">
                          <a:latin typeface="Calibri"/>
                          <a:cs typeface="Calibri"/>
                        </a:rPr>
                        <a:t>reduce viral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131445" algn="r">
                        <a:lnSpc>
                          <a:spcPts val="134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students</a:t>
                      </a:r>
                      <a:r>
                        <a:rPr sz="1200" spc="1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and</a:t>
                      </a:r>
                      <a:r>
                        <a:rPr sz="1200" spc="-5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required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ts val="1345"/>
                        </a:lnSpc>
                      </a:pPr>
                      <a:r>
                        <a:rPr sz="1200" spc="-10">
                          <a:latin typeface="Calibri"/>
                          <a:cs typeface="Calibri"/>
                        </a:rPr>
                        <a:t>reimbursement</a:t>
                      </a:r>
                      <a:r>
                        <a:rPr sz="1200" spc="6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-5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get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0340">
                <a:tc>
                  <a:txBody>
                    <a:bodyPr/>
                    <a:lstStyle/>
                    <a:p>
                      <a:pPr marL="88900">
                        <a:lnSpc>
                          <a:spcPts val="1325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novel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approaches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to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5080" algn="ctr">
                        <a:lnSpc>
                          <a:spcPts val="1275"/>
                        </a:lnSpc>
                      </a:pPr>
                      <a:r>
                        <a:rPr sz="1200" spc="6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training</a:t>
                      </a:r>
                      <a:r>
                        <a:rPr sz="1200" spc="65">
                          <a:latin typeface="Calibri"/>
                          <a:cs typeface="Calibri"/>
                        </a:rPr>
                        <a:t>,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 and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2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transmission</a:t>
                      </a:r>
                      <a:r>
                        <a:rPr sz="1200" spc="-5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>
                          <a:latin typeface="Calibri"/>
                          <a:cs typeface="Calibri"/>
                        </a:rPr>
                        <a:t>in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153670" algn="r">
                        <a:lnSpc>
                          <a:spcPts val="132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maintenance</a:t>
                      </a:r>
                      <a:r>
                        <a:rPr sz="1200" spc="-4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of</a:t>
                      </a:r>
                      <a:r>
                        <a:rPr sz="1200" spc="-3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>
                          <a:latin typeface="Calibri"/>
                          <a:cs typeface="Calibri"/>
                        </a:rPr>
                        <a:t>ideal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82550" algn="ctr">
                        <a:lnSpc>
                          <a:spcPts val="127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students</a:t>
                      </a:r>
                      <a:r>
                        <a:rPr sz="1200" spc="3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85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back</a:t>
                      </a:r>
                      <a:r>
                        <a:rPr sz="1200" spc="-2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into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3040">
                <a:tc>
                  <a:txBody>
                    <a:bodyPr/>
                    <a:lstStyle/>
                    <a:p>
                      <a:pPr marL="98425">
                        <a:lnSpc>
                          <a:spcPts val="1345"/>
                        </a:lnSpc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fund</a:t>
                      </a:r>
                      <a:r>
                        <a:rPr sz="12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impacts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on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1270" algn="ctr">
                        <a:lnSpc>
                          <a:spcPts val="1275"/>
                        </a:lnSpc>
                      </a:pPr>
                      <a:r>
                        <a:rPr sz="120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curriculum</a:t>
                      </a:r>
                      <a:r>
                        <a:rPr sz="1200" spc="25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5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1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>
                          <a:latin typeface="Calibri"/>
                          <a:cs typeface="Calibri"/>
                        </a:rPr>
                        <a:t>avoid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4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classrooms</a:t>
                      </a:r>
                      <a:r>
                        <a:rPr sz="1200" spc="-1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and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>
                          <a:latin typeface="Calibri"/>
                          <a:cs typeface="Calibri"/>
                        </a:rPr>
                        <a:t>other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234315">
                        <a:lnSpc>
                          <a:spcPts val="1345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teacher</a:t>
                      </a:r>
                      <a:r>
                        <a:rPr sz="1200" spc="-4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>
                          <a:latin typeface="Calibri"/>
                          <a:cs typeface="Calibri"/>
                        </a:rPr>
                        <a:t>to</a:t>
                      </a:r>
                      <a:r>
                        <a:rPr sz="1200" spc="4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>
                          <a:latin typeface="Calibri"/>
                          <a:cs typeface="Calibri"/>
                        </a:rPr>
                        <a:t>student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ts val="1275"/>
                        </a:lnSpc>
                      </a:pPr>
                      <a:r>
                        <a:rPr sz="1200" spc="65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the</a:t>
                      </a:r>
                      <a:r>
                        <a:rPr sz="1200" spc="6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classroom</a:t>
                      </a:r>
                      <a:r>
                        <a:rPr lang="en-US" sz="1200" spc="-10" dirty="0">
                          <a:solidFill>
                            <a:srgbClr val="005486"/>
                          </a:solidFill>
                          <a:latin typeface="Calibri"/>
                          <a:cs typeface="Calibri"/>
                        </a:rPr>
                        <a:t>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7655">
                <a:tc>
                  <a:txBody>
                    <a:bodyPr/>
                    <a:lstStyle/>
                    <a:p>
                      <a:pPr marL="403225">
                        <a:lnSpc>
                          <a:spcPts val="1175"/>
                        </a:lnSpc>
                      </a:pPr>
                      <a:r>
                        <a:rPr lang="en-US" sz="1200" spc="-10" dirty="0">
                          <a:latin typeface="Calibri"/>
                          <a:cs typeface="Calibri"/>
                        </a:rPr>
                        <a:t>education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12700" algn="ctr">
                        <a:lnSpc>
                          <a:spcPts val="1250"/>
                        </a:lnSpc>
                      </a:pPr>
                      <a:r>
                        <a:rPr sz="1200">
                          <a:latin typeface="Calibri"/>
                          <a:cs typeface="Calibri"/>
                        </a:rPr>
                        <a:t>learning</a:t>
                      </a:r>
                      <a:r>
                        <a:rPr sz="1200" spc="-75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20">
                          <a:latin typeface="Calibri"/>
                          <a:cs typeface="Calibri"/>
                        </a:rPr>
                        <a:t>loss</a:t>
                      </a:r>
                      <a:r>
                        <a:rPr lang="en-US" sz="1200" spc="-20">
                          <a:latin typeface="Calibri"/>
                          <a:cs typeface="Calibri"/>
                        </a:rPr>
                        <a:t>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12065" algn="ctr">
                        <a:lnSpc>
                          <a:spcPts val="1245"/>
                        </a:lnSpc>
                      </a:pPr>
                      <a:r>
                        <a:rPr lang="en-US" sz="1200" spc="-10">
                          <a:latin typeface="Calibri"/>
                          <a:cs typeface="Calibri"/>
                        </a:rPr>
                        <a:t>facilities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R="2540" algn="ctr">
                        <a:lnSpc>
                          <a:spcPts val="1245"/>
                        </a:lnSpc>
                      </a:pPr>
                      <a:r>
                        <a:rPr lang="en-US" sz="1200" spc="-10">
                          <a:latin typeface="Calibri"/>
                          <a:cs typeface="Calibri"/>
                        </a:rPr>
                        <a:t>ratios.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  <a:lnR w="12700">
                      <a:solidFill>
                        <a:srgbClr val="D0D0CE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D0D0CE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16" name="object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162050" y="1743069"/>
            <a:ext cx="1466850" cy="1019181"/>
            <a:chOff x="1162050" y="1743069"/>
            <a:chExt cx="1466850" cy="1019181"/>
          </a:xfrm>
        </p:grpSpPr>
        <p:sp>
          <p:nvSpPr>
            <p:cNvPr id="20" name="object 20"/>
            <p:cNvSpPr/>
            <p:nvPr/>
          </p:nvSpPr>
          <p:spPr>
            <a:xfrm>
              <a:off x="1162050" y="2505075"/>
              <a:ext cx="542925" cy="257175"/>
            </a:xfrm>
            <a:custGeom>
              <a:avLst/>
              <a:gdLst/>
              <a:ahLst/>
              <a:cxnLst/>
              <a:rect l="l" t="t" r="r" b="b"/>
              <a:pathLst>
                <a:path w="542925" h="257175">
                  <a:moveTo>
                    <a:pt x="407200" y="0"/>
                  </a:moveTo>
                  <a:lnTo>
                    <a:pt x="354363" y="2021"/>
                  </a:lnTo>
                  <a:lnTo>
                    <a:pt x="311218" y="7534"/>
                  </a:lnTo>
                  <a:lnTo>
                    <a:pt x="282129" y="15709"/>
                  </a:lnTo>
                  <a:lnTo>
                    <a:pt x="260796" y="35725"/>
                  </a:lnTo>
                  <a:lnTo>
                    <a:pt x="231708" y="43900"/>
                  </a:lnTo>
                  <a:lnTo>
                    <a:pt x="188566" y="49413"/>
                  </a:lnTo>
                  <a:lnTo>
                    <a:pt x="135737" y="51434"/>
                  </a:lnTo>
                  <a:lnTo>
                    <a:pt x="82901" y="49413"/>
                  </a:lnTo>
                  <a:lnTo>
                    <a:pt x="39755" y="43900"/>
                  </a:lnTo>
                  <a:lnTo>
                    <a:pt x="10666" y="35725"/>
                  </a:lnTo>
                  <a:lnTo>
                    <a:pt x="0" y="25717"/>
                  </a:lnTo>
                  <a:lnTo>
                    <a:pt x="0" y="231457"/>
                  </a:lnTo>
                  <a:lnTo>
                    <a:pt x="10666" y="241465"/>
                  </a:lnTo>
                  <a:lnTo>
                    <a:pt x="39755" y="249640"/>
                  </a:lnTo>
                  <a:lnTo>
                    <a:pt x="82901" y="255153"/>
                  </a:lnTo>
                  <a:lnTo>
                    <a:pt x="135737" y="257174"/>
                  </a:lnTo>
                  <a:lnTo>
                    <a:pt x="188566" y="255153"/>
                  </a:lnTo>
                  <a:lnTo>
                    <a:pt x="231708" y="249640"/>
                  </a:lnTo>
                  <a:lnTo>
                    <a:pt x="260796" y="241465"/>
                  </a:lnTo>
                  <a:lnTo>
                    <a:pt x="282129" y="221449"/>
                  </a:lnTo>
                  <a:lnTo>
                    <a:pt x="311218" y="213274"/>
                  </a:lnTo>
                  <a:lnTo>
                    <a:pt x="354363" y="207761"/>
                  </a:lnTo>
                  <a:lnTo>
                    <a:pt x="407200" y="205739"/>
                  </a:lnTo>
                  <a:lnTo>
                    <a:pt x="460028" y="207761"/>
                  </a:lnTo>
                  <a:lnTo>
                    <a:pt x="503170" y="213274"/>
                  </a:lnTo>
                  <a:lnTo>
                    <a:pt x="532258" y="221449"/>
                  </a:lnTo>
                  <a:lnTo>
                    <a:pt x="542925" y="231457"/>
                  </a:lnTo>
                  <a:lnTo>
                    <a:pt x="542925" y="25717"/>
                  </a:lnTo>
                  <a:lnTo>
                    <a:pt x="532258" y="15709"/>
                  </a:lnTo>
                  <a:lnTo>
                    <a:pt x="503170" y="7534"/>
                  </a:lnTo>
                  <a:lnTo>
                    <a:pt x="460028" y="2021"/>
                  </a:lnTo>
                  <a:lnTo>
                    <a:pt x="407200" y="0"/>
                  </a:lnTo>
                  <a:close/>
                </a:path>
              </a:pathLst>
            </a:custGeom>
            <a:solidFill>
              <a:srgbClr val="FFFF00">
                <a:alpha val="30194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1198352" y="1743069"/>
              <a:ext cx="970915" cy="333375"/>
            </a:xfrm>
            <a:custGeom>
              <a:avLst/>
              <a:gdLst/>
              <a:ahLst/>
              <a:cxnLst/>
              <a:rect l="l" t="t" r="r" b="b"/>
              <a:pathLst>
                <a:path w="970914" h="333375">
                  <a:moveTo>
                    <a:pt x="760732" y="151987"/>
                  </a:moveTo>
                  <a:lnTo>
                    <a:pt x="421958" y="151987"/>
                  </a:lnTo>
                  <a:lnTo>
                    <a:pt x="453508" y="153211"/>
                  </a:lnTo>
                  <a:lnTo>
                    <a:pt x="478047" y="156883"/>
                  </a:lnTo>
                  <a:lnTo>
                    <a:pt x="511933" y="159131"/>
                  </a:lnTo>
                  <a:lnTo>
                    <a:pt x="552833" y="165057"/>
                  </a:lnTo>
                  <a:lnTo>
                    <a:pt x="593735" y="173433"/>
                  </a:lnTo>
                  <a:lnTo>
                    <a:pt x="627628" y="183032"/>
                  </a:lnTo>
                  <a:lnTo>
                    <a:pt x="633851" y="183032"/>
                  </a:lnTo>
                  <a:lnTo>
                    <a:pt x="666479" y="186300"/>
                  </a:lnTo>
                  <a:lnTo>
                    <a:pt x="698519" y="194471"/>
                  </a:lnTo>
                  <a:lnTo>
                    <a:pt x="729388" y="205095"/>
                  </a:lnTo>
                  <a:lnTo>
                    <a:pt x="758501" y="215722"/>
                  </a:lnTo>
                  <a:lnTo>
                    <a:pt x="735714" y="234920"/>
                  </a:lnTo>
                  <a:lnTo>
                    <a:pt x="707084" y="246765"/>
                  </a:lnTo>
                  <a:lnTo>
                    <a:pt x="676118" y="256161"/>
                  </a:lnTo>
                  <a:lnTo>
                    <a:pt x="646322" y="268008"/>
                  </a:lnTo>
                  <a:lnTo>
                    <a:pt x="646322" y="281089"/>
                  </a:lnTo>
                  <a:lnTo>
                    <a:pt x="640087" y="281089"/>
                  </a:lnTo>
                  <a:lnTo>
                    <a:pt x="640087" y="287616"/>
                  </a:lnTo>
                  <a:lnTo>
                    <a:pt x="648558" y="297525"/>
                  </a:lnTo>
                  <a:lnTo>
                    <a:pt x="651772" y="312948"/>
                  </a:lnTo>
                  <a:lnTo>
                    <a:pt x="658494" y="327145"/>
                  </a:lnTo>
                  <a:lnTo>
                    <a:pt x="677488" y="333375"/>
                  </a:lnTo>
                  <a:lnTo>
                    <a:pt x="695404" y="323777"/>
                  </a:lnTo>
                  <a:lnTo>
                    <a:pt x="717995" y="315406"/>
                  </a:lnTo>
                  <a:lnTo>
                    <a:pt x="740585" y="309484"/>
                  </a:lnTo>
                  <a:lnTo>
                    <a:pt x="758501" y="307238"/>
                  </a:lnTo>
                  <a:lnTo>
                    <a:pt x="776230" y="302435"/>
                  </a:lnTo>
                  <a:lnTo>
                    <a:pt x="797460" y="298245"/>
                  </a:lnTo>
                  <a:lnTo>
                    <a:pt x="816350" y="295281"/>
                  </a:lnTo>
                  <a:lnTo>
                    <a:pt x="827056" y="294157"/>
                  </a:lnTo>
                  <a:lnTo>
                    <a:pt x="833292" y="294157"/>
                  </a:lnTo>
                  <a:lnTo>
                    <a:pt x="833292" y="287616"/>
                  </a:lnTo>
                  <a:lnTo>
                    <a:pt x="967815" y="287616"/>
                  </a:lnTo>
                  <a:lnTo>
                    <a:pt x="970407" y="269649"/>
                  </a:lnTo>
                  <a:lnTo>
                    <a:pt x="969237" y="242887"/>
                  </a:lnTo>
                  <a:lnTo>
                    <a:pt x="970401" y="222250"/>
                  </a:lnTo>
                  <a:lnTo>
                    <a:pt x="970401" y="215722"/>
                  </a:lnTo>
                  <a:lnTo>
                    <a:pt x="954531" y="207751"/>
                  </a:lnTo>
                  <a:lnTo>
                    <a:pt x="936908" y="201007"/>
                  </a:lnTo>
                  <a:lnTo>
                    <a:pt x="920452" y="191813"/>
                  </a:lnTo>
                  <a:lnTo>
                    <a:pt x="908082" y="176491"/>
                  </a:lnTo>
                  <a:lnTo>
                    <a:pt x="901846" y="176491"/>
                  </a:lnTo>
                  <a:lnTo>
                    <a:pt x="886913" y="163423"/>
                  </a:lnTo>
                  <a:lnTo>
                    <a:pt x="802126" y="163423"/>
                  </a:lnTo>
                  <a:lnTo>
                    <a:pt x="791807" y="163219"/>
                  </a:lnTo>
                  <a:lnTo>
                    <a:pt x="780318" y="161790"/>
                  </a:lnTo>
                  <a:lnTo>
                    <a:pt x="768827" y="157910"/>
                  </a:lnTo>
                  <a:lnTo>
                    <a:pt x="760732" y="151987"/>
                  </a:lnTo>
                  <a:close/>
                </a:path>
                <a:path w="970914" h="333375">
                  <a:moveTo>
                    <a:pt x="967815" y="287616"/>
                  </a:moveTo>
                  <a:lnTo>
                    <a:pt x="833292" y="287616"/>
                  </a:lnTo>
                  <a:lnTo>
                    <a:pt x="866597" y="293442"/>
                  </a:lnTo>
                  <a:lnTo>
                    <a:pt x="894060" y="294974"/>
                  </a:lnTo>
                  <a:lnTo>
                    <a:pt x="919186" y="297734"/>
                  </a:lnTo>
                  <a:lnTo>
                    <a:pt x="945484" y="307238"/>
                  </a:lnTo>
                  <a:lnTo>
                    <a:pt x="951707" y="307238"/>
                  </a:lnTo>
                  <a:lnTo>
                    <a:pt x="966901" y="293958"/>
                  </a:lnTo>
                  <a:lnTo>
                    <a:pt x="967815" y="287616"/>
                  </a:lnTo>
                  <a:close/>
                </a:path>
                <a:path w="970914" h="333375">
                  <a:moveTo>
                    <a:pt x="241898" y="99996"/>
                  </a:moveTo>
                  <a:lnTo>
                    <a:pt x="228746" y="104597"/>
                  </a:lnTo>
                  <a:lnTo>
                    <a:pt x="142275" y="126653"/>
                  </a:lnTo>
                  <a:lnTo>
                    <a:pt x="98162" y="136765"/>
                  </a:lnTo>
                  <a:lnTo>
                    <a:pt x="60471" y="143814"/>
                  </a:lnTo>
                  <a:lnTo>
                    <a:pt x="39536" y="154026"/>
                  </a:lnTo>
                  <a:lnTo>
                    <a:pt x="14510" y="166692"/>
                  </a:lnTo>
                  <a:lnTo>
                    <a:pt x="0" y="184260"/>
                  </a:lnTo>
                  <a:lnTo>
                    <a:pt x="10611" y="209181"/>
                  </a:lnTo>
                  <a:lnTo>
                    <a:pt x="41777" y="209181"/>
                  </a:lnTo>
                  <a:lnTo>
                    <a:pt x="47426" y="201626"/>
                  </a:lnTo>
                  <a:lnTo>
                    <a:pt x="54242" y="197746"/>
                  </a:lnTo>
                  <a:lnTo>
                    <a:pt x="61058" y="196317"/>
                  </a:lnTo>
                  <a:lnTo>
                    <a:pt x="66707" y="196113"/>
                  </a:lnTo>
                  <a:lnTo>
                    <a:pt x="80928" y="187631"/>
                  </a:lnTo>
                  <a:lnTo>
                    <a:pt x="100989" y="182214"/>
                  </a:lnTo>
                  <a:lnTo>
                    <a:pt x="121048" y="180477"/>
                  </a:lnTo>
                  <a:lnTo>
                    <a:pt x="158450" y="180477"/>
                  </a:lnTo>
                  <a:lnTo>
                    <a:pt x="162142" y="180070"/>
                  </a:lnTo>
                  <a:lnTo>
                    <a:pt x="186681" y="174045"/>
                  </a:lnTo>
                  <a:lnTo>
                    <a:pt x="208882" y="169246"/>
                  </a:lnTo>
                  <a:lnTo>
                    <a:pt x="228746" y="169246"/>
                  </a:lnTo>
                  <a:lnTo>
                    <a:pt x="228746" y="163423"/>
                  </a:lnTo>
                  <a:lnTo>
                    <a:pt x="241218" y="163423"/>
                  </a:lnTo>
                  <a:lnTo>
                    <a:pt x="272865" y="158724"/>
                  </a:lnTo>
                  <a:lnTo>
                    <a:pt x="302759" y="155252"/>
                  </a:lnTo>
                  <a:lnTo>
                    <a:pt x="331486" y="154231"/>
                  </a:lnTo>
                  <a:lnTo>
                    <a:pt x="383590" y="154231"/>
                  </a:lnTo>
                  <a:lnTo>
                    <a:pt x="390408" y="153211"/>
                  </a:lnTo>
                  <a:lnTo>
                    <a:pt x="421958" y="151987"/>
                  </a:lnTo>
                  <a:lnTo>
                    <a:pt x="760732" y="151987"/>
                  </a:lnTo>
                  <a:lnTo>
                    <a:pt x="758501" y="150355"/>
                  </a:lnTo>
                  <a:lnTo>
                    <a:pt x="714243" y="140126"/>
                  </a:lnTo>
                  <a:lnTo>
                    <a:pt x="664096" y="129534"/>
                  </a:lnTo>
                  <a:lnTo>
                    <a:pt x="610486" y="119305"/>
                  </a:lnTo>
                  <a:lnTo>
                    <a:pt x="555837" y="110164"/>
                  </a:lnTo>
                  <a:lnTo>
                    <a:pt x="527206" y="106227"/>
                  </a:lnTo>
                  <a:lnTo>
                    <a:pt x="316781" y="106227"/>
                  </a:lnTo>
                  <a:lnTo>
                    <a:pt x="300433" y="105511"/>
                  </a:lnTo>
                  <a:lnTo>
                    <a:pt x="268191" y="105511"/>
                  </a:lnTo>
                  <a:lnTo>
                    <a:pt x="254461" y="102139"/>
                  </a:lnTo>
                  <a:lnTo>
                    <a:pt x="241898" y="99996"/>
                  </a:lnTo>
                  <a:close/>
                </a:path>
                <a:path w="970914" h="333375">
                  <a:moveTo>
                    <a:pt x="158450" y="180477"/>
                  </a:moveTo>
                  <a:lnTo>
                    <a:pt x="121048" y="180477"/>
                  </a:lnTo>
                  <a:lnTo>
                    <a:pt x="135262" y="183032"/>
                  </a:lnTo>
                  <a:lnTo>
                    <a:pt x="158450" y="180477"/>
                  </a:lnTo>
                  <a:close/>
                </a:path>
                <a:path w="970914" h="333375">
                  <a:moveTo>
                    <a:pt x="228746" y="169246"/>
                  </a:moveTo>
                  <a:lnTo>
                    <a:pt x="208882" y="169246"/>
                  </a:lnTo>
                  <a:lnTo>
                    <a:pt x="228746" y="169964"/>
                  </a:lnTo>
                  <a:lnTo>
                    <a:pt x="228746" y="169246"/>
                  </a:lnTo>
                  <a:close/>
                </a:path>
                <a:path w="970914" h="333375">
                  <a:moveTo>
                    <a:pt x="764737" y="0"/>
                  </a:moveTo>
                  <a:lnTo>
                    <a:pt x="756463" y="6947"/>
                  </a:lnTo>
                  <a:lnTo>
                    <a:pt x="749938" y="16344"/>
                  </a:lnTo>
                  <a:lnTo>
                    <a:pt x="744581" y="25742"/>
                  </a:lnTo>
                  <a:lnTo>
                    <a:pt x="739807" y="32689"/>
                  </a:lnTo>
                  <a:lnTo>
                    <a:pt x="739807" y="39230"/>
                  </a:lnTo>
                  <a:lnTo>
                    <a:pt x="746043" y="39230"/>
                  </a:lnTo>
                  <a:lnTo>
                    <a:pt x="762692" y="69665"/>
                  </a:lnTo>
                  <a:lnTo>
                    <a:pt x="781095" y="101326"/>
                  </a:lnTo>
                  <a:lnTo>
                    <a:pt x="795992" y="132988"/>
                  </a:lnTo>
                  <a:lnTo>
                    <a:pt x="802126" y="163423"/>
                  </a:lnTo>
                  <a:lnTo>
                    <a:pt x="886913" y="163423"/>
                  </a:lnTo>
                  <a:lnTo>
                    <a:pt x="874423" y="152493"/>
                  </a:lnTo>
                  <a:lnTo>
                    <a:pt x="849992" y="116254"/>
                  </a:lnTo>
                  <a:lnTo>
                    <a:pt x="825562" y="74365"/>
                  </a:lnTo>
                  <a:lnTo>
                    <a:pt x="798140" y="33417"/>
                  </a:lnTo>
                  <a:lnTo>
                    <a:pt x="764737" y="0"/>
                  </a:lnTo>
                  <a:close/>
                </a:path>
                <a:path w="970914" h="333375">
                  <a:moveTo>
                    <a:pt x="383590" y="154231"/>
                  </a:moveTo>
                  <a:lnTo>
                    <a:pt x="331486" y="154231"/>
                  </a:lnTo>
                  <a:lnTo>
                    <a:pt x="359633" y="156883"/>
                  </a:lnTo>
                  <a:lnTo>
                    <a:pt x="365868" y="156883"/>
                  </a:lnTo>
                  <a:lnTo>
                    <a:pt x="383590" y="154231"/>
                  </a:lnTo>
                  <a:close/>
                </a:path>
                <a:path w="970914" h="333375">
                  <a:moveTo>
                    <a:pt x="353397" y="98056"/>
                  </a:moveTo>
                  <a:lnTo>
                    <a:pt x="336550" y="104591"/>
                  </a:lnTo>
                  <a:lnTo>
                    <a:pt x="316781" y="106227"/>
                  </a:lnTo>
                  <a:lnTo>
                    <a:pt x="527206" y="106227"/>
                  </a:lnTo>
                  <a:lnTo>
                    <a:pt x="502572" y="102839"/>
                  </a:lnTo>
                  <a:lnTo>
                    <a:pt x="462645" y="98978"/>
                  </a:lnTo>
                  <a:lnTo>
                    <a:pt x="383876" y="98978"/>
                  </a:lnTo>
                  <a:lnTo>
                    <a:pt x="353397" y="98056"/>
                  </a:lnTo>
                  <a:close/>
                </a:path>
                <a:path w="970914" h="333375">
                  <a:moveTo>
                    <a:pt x="284842" y="104597"/>
                  </a:moveTo>
                  <a:lnTo>
                    <a:pt x="268191" y="105511"/>
                  </a:lnTo>
                  <a:lnTo>
                    <a:pt x="300433" y="105511"/>
                  </a:lnTo>
                  <a:lnTo>
                    <a:pt x="298181" y="105412"/>
                  </a:lnTo>
                  <a:lnTo>
                    <a:pt x="284842" y="104597"/>
                  </a:lnTo>
                  <a:close/>
                </a:path>
                <a:path w="970914" h="333375">
                  <a:moveTo>
                    <a:pt x="433153" y="93463"/>
                  </a:moveTo>
                  <a:lnTo>
                    <a:pt x="410267" y="95608"/>
                  </a:lnTo>
                  <a:lnTo>
                    <a:pt x="383876" y="98978"/>
                  </a:lnTo>
                  <a:lnTo>
                    <a:pt x="462645" y="98978"/>
                  </a:lnTo>
                  <a:lnTo>
                    <a:pt x="453117" y="98056"/>
                  </a:lnTo>
                  <a:lnTo>
                    <a:pt x="433153" y="93463"/>
                  </a:lnTo>
                  <a:close/>
                </a:path>
              </a:pathLst>
            </a:custGeom>
            <a:solidFill>
              <a:srgbClr val="25252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8" name="object 18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914525" y="1943100"/>
              <a:ext cx="714375" cy="723900"/>
            </a:xfrm>
            <a:prstGeom prst="rect">
              <a:avLst/>
            </a:prstGeom>
          </p:spPr>
        </p:pic>
        <p:sp>
          <p:nvSpPr>
            <p:cNvPr id="19" name="object 19"/>
            <p:cNvSpPr/>
            <p:nvPr/>
          </p:nvSpPr>
          <p:spPr>
            <a:xfrm>
              <a:off x="2000250" y="2028825"/>
              <a:ext cx="542925" cy="552450"/>
            </a:xfrm>
            <a:custGeom>
              <a:avLst/>
              <a:gdLst/>
              <a:ahLst/>
              <a:cxnLst/>
              <a:rect l="l" t="t" r="r" b="b"/>
              <a:pathLst>
                <a:path w="542925" h="552450">
                  <a:moveTo>
                    <a:pt x="271462" y="0"/>
                  </a:moveTo>
                  <a:lnTo>
                    <a:pt x="222667" y="4450"/>
                  </a:lnTo>
                  <a:lnTo>
                    <a:pt x="176740" y="17281"/>
                  </a:lnTo>
                  <a:lnTo>
                    <a:pt x="134450" y="37713"/>
                  </a:lnTo>
                  <a:lnTo>
                    <a:pt x="96563" y="64965"/>
                  </a:lnTo>
                  <a:lnTo>
                    <a:pt x="63844" y="98257"/>
                  </a:lnTo>
                  <a:lnTo>
                    <a:pt x="37062" y="136810"/>
                  </a:lnTo>
                  <a:lnTo>
                    <a:pt x="16983" y="179842"/>
                  </a:lnTo>
                  <a:lnTo>
                    <a:pt x="4373" y="226573"/>
                  </a:lnTo>
                  <a:lnTo>
                    <a:pt x="0" y="276225"/>
                  </a:lnTo>
                  <a:lnTo>
                    <a:pt x="4373" y="325876"/>
                  </a:lnTo>
                  <a:lnTo>
                    <a:pt x="16983" y="372607"/>
                  </a:lnTo>
                  <a:lnTo>
                    <a:pt x="37062" y="415639"/>
                  </a:lnTo>
                  <a:lnTo>
                    <a:pt x="63844" y="454192"/>
                  </a:lnTo>
                  <a:lnTo>
                    <a:pt x="96563" y="487484"/>
                  </a:lnTo>
                  <a:lnTo>
                    <a:pt x="134450" y="514736"/>
                  </a:lnTo>
                  <a:lnTo>
                    <a:pt x="176740" y="535168"/>
                  </a:lnTo>
                  <a:lnTo>
                    <a:pt x="222667" y="547999"/>
                  </a:lnTo>
                  <a:lnTo>
                    <a:pt x="271462" y="552450"/>
                  </a:lnTo>
                  <a:lnTo>
                    <a:pt x="320257" y="547999"/>
                  </a:lnTo>
                  <a:lnTo>
                    <a:pt x="366184" y="535168"/>
                  </a:lnTo>
                  <a:lnTo>
                    <a:pt x="408474" y="514736"/>
                  </a:lnTo>
                  <a:lnTo>
                    <a:pt x="446361" y="487484"/>
                  </a:lnTo>
                  <a:lnTo>
                    <a:pt x="479080" y="454192"/>
                  </a:lnTo>
                  <a:lnTo>
                    <a:pt x="505862" y="415639"/>
                  </a:lnTo>
                  <a:lnTo>
                    <a:pt x="525941" y="372607"/>
                  </a:lnTo>
                  <a:lnTo>
                    <a:pt x="538551" y="325876"/>
                  </a:lnTo>
                  <a:lnTo>
                    <a:pt x="542925" y="276225"/>
                  </a:lnTo>
                  <a:lnTo>
                    <a:pt x="538551" y="226573"/>
                  </a:lnTo>
                  <a:lnTo>
                    <a:pt x="525941" y="179842"/>
                  </a:lnTo>
                  <a:lnTo>
                    <a:pt x="505862" y="136810"/>
                  </a:lnTo>
                  <a:lnTo>
                    <a:pt x="479080" y="98257"/>
                  </a:lnTo>
                  <a:lnTo>
                    <a:pt x="446361" y="64965"/>
                  </a:lnTo>
                  <a:lnTo>
                    <a:pt x="408474" y="37713"/>
                  </a:lnTo>
                  <a:lnTo>
                    <a:pt x="366184" y="17281"/>
                  </a:lnTo>
                  <a:lnTo>
                    <a:pt x="320257" y="4450"/>
                  </a:lnTo>
                  <a:lnTo>
                    <a:pt x="271462" y="0"/>
                  </a:lnTo>
                  <a:close/>
                </a:path>
              </a:pathLst>
            </a:custGeom>
            <a:solidFill>
              <a:srgbClr val="B7DDF3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0" name="object 3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409950" y="990600"/>
            <a:ext cx="3297434" cy="2486025"/>
            <a:chOff x="3409950" y="990600"/>
            <a:chExt cx="3297434" cy="2486025"/>
          </a:xfrm>
        </p:grpSpPr>
        <p:sp>
          <p:nvSpPr>
            <p:cNvPr id="31" name="object 31"/>
            <p:cNvSpPr/>
            <p:nvPr/>
          </p:nvSpPr>
          <p:spPr>
            <a:xfrm>
              <a:off x="5727579" y="1276343"/>
              <a:ext cx="979805" cy="381000"/>
            </a:xfrm>
            <a:custGeom>
              <a:avLst/>
              <a:gdLst/>
              <a:ahLst/>
              <a:cxnLst/>
              <a:rect l="l" t="t" r="r" b="b"/>
              <a:pathLst>
                <a:path w="979804" h="381000">
                  <a:moveTo>
                    <a:pt x="333438" y="328714"/>
                  </a:moveTo>
                  <a:lnTo>
                    <a:pt x="138404" y="328714"/>
                  </a:lnTo>
                  <a:lnTo>
                    <a:pt x="138404" y="336181"/>
                  </a:lnTo>
                  <a:lnTo>
                    <a:pt x="144703" y="336181"/>
                  </a:lnTo>
                  <a:lnTo>
                    <a:pt x="155514" y="337465"/>
                  </a:lnTo>
                  <a:lnTo>
                    <a:pt x="174585" y="340850"/>
                  </a:lnTo>
                  <a:lnTo>
                    <a:pt x="196015" y="345638"/>
                  </a:lnTo>
                  <a:lnTo>
                    <a:pt x="213906" y="351129"/>
                  </a:lnTo>
                  <a:lnTo>
                    <a:pt x="231993" y="353696"/>
                  </a:lnTo>
                  <a:lnTo>
                    <a:pt x="254800" y="360464"/>
                  </a:lnTo>
                  <a:lnTo>
                    <a:pt x="277606" y="370031"/>
                  </a:lnTo>
                  <a:lnTo>
                    <a:pt x="295694" y="381000"/>
                  </a:lnTo>
                  <a:lnTo>
                    <a:pt x="314861" y="373880"/>
                  </a:lnTo>
                  <a:lnTo>
                    <a:pt x="321643" y="357657"/>
                  </a:lnTo>
                  <a:lnTo>
                    <a:pt x="324887" y="340034"/>
                  </a:lnTo>
                  <a:lnTo>
                    <a:pt x="333438" y="328714"/>
                  </a:lnTo>
                  <a:close/>
                </a:path>
                <a:path w="979804" h="381000">
                  <a:moveTo>
                    <a:pt x="207606" y="0"/>
                  </a:moveTo>
                  <a:lnTo>
                    <a:pt x="173889" y="38192"/>
                  </a:lnTo>
                  <a:lnTo>
                    <a:pt x="146209" y="84990"/>
                  </a:lnTo>
                  <a:lnTo>
                    <a:pt x="121547" y="132863"/>
                  </a:lnTo>
                  <a:lnTo>
                    <a:pt x="96884" y="174281"/>
                  </a:lnTo>
                  <a:lnTo>
                    <a:pt x="69202" y="201714"/>
                  </a:lnTo>
                  <a:lnTo>
                    <a:pt x="62915" y="201714"/>
                  </a:lnTo>
                  <a:lnTo>
                    <a:pt x="50429" y="219223"/>
                  </a:lnTo>
                  <a:lnTo>
                    <a:pt x="33815" y="229728"/>
                  </a:lnTo>
                  <a:lnTo>
                    <a:pt x="16022" y="237431"/>
                  </a:lnTo>
                  <a:lnTo>
                    <a:pt x="0" y="246532"/>
                  </a:lnTo>
                  <a:lnTo>
                    <a:pt x="0" y="254000"/>
                  </a:lnTo>
                  <a:lnTo>
                    <a:pt x="1184" y="277581"/>
                  </a:lnTo>
                  <a:lnTo>
                    <a:pt x="6" y="308165"/>
                  </a:lnTo>
                  <a:lnTo>
                    <a:pt x="3543" y="335949"/>
                  </a:lnTo>
                  <a:lnTo>
                    <a:pt x="18872" y="351129"/>
                  </a:lnTo>
                  <a:lnTo>
                    <a:pt x="25171" y="351129"/>
                  </a:lnTo>
                  <a:lnTo>
                    <a:pt x="51709" y="340270"/>
                  </a:lnTo>
                  <a:lnTo>
                    <a:pt x="77068" y="337116"/>
                  </a:lnTo>
                  <a:lnTo>
                    <a:pt x="104786" y="335365"/>
                  </a:lnTo>
                  <a:lnTo>
                    <a:pt x="138404" y="328714"/>
                  </a:lnTo>
                  <a:lnTo>
                    <a:pt x="333438" y="328714"/>
                  </a:lnTo>
                  <a:lnTo>
                    <a:pt x="333438" y="321246"/>
                  </a:lnTo>
                  <a:lnTo>
                    <a:pt x="327151" y="321246"/>
                  </a:lnTo>
                  <a:lnTo>
                    <a:pt x="327151" y="306298"/>
                  </a:lnTo>
                  <a:lnTo>
                    <a:pt x="297066" y="292756"/>
                  </a:lnTo>
                  <a:lnTo>
                    <a:pt x="265804" y="282016"/>
                  </a:lnTo>
                  <a:lnTo>
                    <a:pt x="236905" y="268476"/>
                  </a:lnTo>
                  <a:lnTo>
                    <a:pt x="274458" y="222256"/>
                  </a:lnTo>
                  <a:lnTo>
                    <a:pt x="339724" y="209181"/>
                  </a:lnTo>
                  <a:lnTo>
                    <a:pt x="346024" y="209181"/>
                  </a:lnTo>
                  <a:lnTo>
                    <a:pt x="380230" y="198211"/>
                  </a:lnTo>
                  <a:lnTo>
                    <a:pt x="421514" y="188639"/>
                  </a:lnTo>
                  <a:lnTo>
                    <a:pt x="432935" y="186766"/>
                  </a:lnTo>
                  <a:lnTo>
                    <a:pt x="169862" y="186766"/>
                  </a:lnTo>
                  <a:lnTo>
                    <a:pt x="176055" y="151983"/>
                  </a:lnTo>
                  <a:lnTo>
                    <a:pt x="191095" y="115798"/>
                  </a:lnTo>
                  <a:lnTo>
                    <a:pt x="209676" y="79613"/>
                  </a:lnTo>
                  <a:lnTo>
                    <a:pt x="226491" y="44831"/>
                  </a:lnTo>
                  <a:lnTo>
                    <a:pt x="232778" y="44831"/>
                  </a:lnTo>
                  <a:lnTo>
                    <a:pt x="232778" y="37363"/>
                  </a:lnTo>
                  <a:lnTo>
                    <a:pt x="227963" y="29421"/>
                  </a:lnTo>
                  <a:lnTo>
                    <a:pt x="222554" y="18681"/>
                  </a:lnTo>
                  <a:lnTo>
                    <a:pt x="215965" y="7941"/>
                  </a:lnTo>
                  <a:lnTo>
                    <a:pt x="207606" y="0"/>
                  </a:lnTo>
                  <a:close/>
                </a:path>
                <a:path w="979804" h="381000">
                  <a:moveTo>
                    <a:pt x="976411" y="206264"/>
                  </a:moveTo>
                  <a:lnTo>
                    <a:pt x="857378" y="206264"/>
                  </a:lnTo>
                  <a:lnTo>
                    <a:pt x="877627" y="208249"/>
                  </a:lnTo>
                  <a:lnTo>
                    <a:pt x="897875" y="214437"/>
                  </a:lnTo>
                  <a:lnTo>
                    <a:pt x="912228" y="224129"/>
                  </a:lnTo>
                  <a:lnTo>
                    <a:pt x="917927" y="224362"/>
                  </a:lnTo>
                  <a:lnTo>
                    <a:pt x="924807" y="225996"/>
                  </a:lnTo>
                  <a:lnTo>
                    <a:pt x="931687" y="230430"/>
                  </a:lnTo>
                  <a:lnTo>
                    <a:pt x="937386" y="239064"/>
                  </a:lnTo>
                  <a:lnTo>
                    <a:pt x="968844" y="239064"/>
                  </a:lnTo>
                  <a:lnTo>
                    <a:pt x="979563" y="210585"/>
                  </a:lnTo>
                  <a:lnTo>
                    <a:pt x="976411" y="206264"/>
                  </a:lnTo>
                  <a:close/>
                </a:path>
                <a:path w="979804" h="381000">
                  <a:moveTo>
                    <a:pt x="967043" y="193424"/>
                  </a:moveTo>
                  <a:lnTo>
                    <a:pt x="768709" y="193424"/>
                  </a:lnTo>
                  <a:lnTo>
                    <a:pt x="791124" y="198908"/>
                  </a:lnTo>
                  <a:lnTo>
                    <a:pt x="815896" y="205796"/>
                  </a:lnTo>
                  <a:lnTo>
                    <a:pt x="843025" y="209181"/>
                  </a:lnTo>
                  <a:lnTo>
                    <a:pt x="857378" y="206264"/>
                  </a:lnTo>
                  <a:lnTo>
                    <a:pt x="976411" y="206264"/>
                  </a:lnTo>
                  <a:lnTo>
                    <a:pt x="967043" y="193424"/>
                  </a:lnTo>
                  <a:close/>
                </a:path>
                <a:path w="979804" h="381000">
                  <a:moveTo>
                    <a:pt x="940053" y="176264"/>
                  </a:moveTo>
                  <a:lnTo>
                    <a:pt x="644953" y="176264"/>
                  </a:lnTo>
                  <a:lnTo>
                    <a:pt x="673950" y="177431"/>
                  </a:lnTo>
                  <a:lnTo>
                    <a:pt x="704129" y="181398"/>
                  </a:lnTo>
                  <a:lnTo>
                    <a:pt x="736079" y="186766"/>
                  </a:lnTo>
                  <a:lnTo>
                    <a:pt x="748652" y="186766"/>
                  </a:lnTo>
                  <a:lnTo>
                    <a:pt x="748652" y="194246"/>
                  </a:lnTo>
                  <a:lnTo>
                    <a:pt x="768709" y="193424"/>
                  </a:lnTo>
                  <a:lnTo>
                    <a:pt x="967043" y="193424"/>
                  </a:lnTo>
                  <a:lnTo>
                    <a:pt x="964915" y="190507"/>
                  </a:lnTo>
                  <a:lnTo>
                    <a:pt x="940053" y="176264"/>
                  </a:lnTo>
                  <a:close/>
                </a:path>
                <a:path w="979804" h="381000">
                  <a:moveTo>
                    <a:pt x="542321" y="106814"/>
                  </a:moveTo>
                  <a:lnTo>
                    <a:pt x="522173" y="112064"/>
                  </a:lnTo>
                  <a:lnTo>
                    <a:pt x="472249" y="117528"/>
                  </a:lnTo>
                  <a:lnTo>
                    <a:pt x="418483" y="125897"/>
                  </a:lnTo>
                  <a:lnTo>
                    <a:pt x="363320" y="136342"/>
                  </a:lnTo>
                  <a:lnTo>
                    <a:pt x="309205" y="148033"/>
                  </a:lnTo>
                  <a:lnTo>
                    <a:pt x="258585" y="160139"/>
                  </a:lnTo>
                  <a:lnTo>
                    <a:pt x="213906" y="171831"/>
                  </a:lnTo>
                  <a:lnTo>
                    <a:pt x="203484" y="180465"/>
                  </a:lnTo>
                  <a:lnTo>
                    <a:pt x="191884" y="184899"/>
                  </a:lnTo>
                  <a:lnTo>
                    <a:pt x="180284" y="186532"/>
                  </a:lnTo>
                  <a:lnTo>
                    <a:pt x="169862" y="186766"/>
                  </a:lnTo>
                  <a:lnTo>
                    <a:pt x="432935" y="186766"/>
                  </a:lnTo>
                  <a:lnTo>
                    <a:pt x="462801" y="181867"/>
                  </a:lnTo>
                  <a:lnTo>
                    <a:pt x="497014" y="179298"/>
                  </a:lnTo>
                  <a:lnTo>
                    <a:pt x="521783" y="175098"/>
                  </a:lnTo>
                  <a:lnTo>
                    <a:pt x="553631" y="173697"/>
                  </a:lnTo>
                  <a:lnTo>
                    <a:pt x="935419" y="173697"/>
                  </a:lnTo>
                  <a:lnTo>
                    <a:pt x="918514" y="164363"/>
                  </a:lnTo>
                  <a:lnTo>
                    <a:pt x="880475" y="156304"/>
                  </a:lnTo>
                  <a:lnTo>
                    <a:pt x="835945" y="144748"/>
                  </a:lnTo>
                  <a:lnTo>
                    <a:pt x="790234" y="131791"/>
                  </a:lnTo>
                  <a:lnTo>
                    <a:pt x="754984" y="121399"/>
                  </a:lnTo>
                  <a:lnTo>
                    <a:pt x="659791" y="121399"/>
                  </a:lnTo>
                  <a:lnTo>
                    <a:pt x="639838" y="119532"/>
                  </a:lnTo>
                  <a:lnTo>
                    <a:pt x="625224" y="113114"/>
                  </a:lnTo>
                  <a:lnTo>
                    <a:pt x="592062" y="113114"/>
                  </a:lnTo>
                  <a:lnTo>
                    <a:pt x="565421" y="109264"/>
                  </a:lnTo>
                  <a:lnTo>
                    <a:pt x="542321" y="106814"/>
                  </a:lnTo>
                  <a:close/>
                </a:path>
                <a:path w="979804" h="381000">
                  <a:moveTo>
                    <a:pt x="935419" y="173697"/>
                  </a:moveTo>
                  <a:lnTo>
                    <a:pt x="553631" y="173697"/>
                  </a:lnTo>
                  <a:lnTo>
                    <a:pt x="585479" y="175098"/>
                  </a:lnTo>
                  <a:lnTo>
                    <a:pt x="610247" y="179298"/>
                  </a:lnTo>
                  <a:lnTo>
                    <a:pt x="616546" y="179298"/>
                  </a:lnTo>
                  <a:lnTo>
                    <a:pt x="644953" y="176264"/>
                  </a:lnTo>
                  <a:lnTo>
                    <a:pt x="940053" y="176264"/>
                  </a:lnTo>
                  <a:lnTo>
                    <a:pt x="935419" y="173697"/>
                  </a:lnTo>
                  <a:close/>
                </a:path>
                <a:path w="979804" h="381000">
                  <a:moveTo>
                    <a:pt x="692035" y="119532"/>
                  </a:moveTo>
                  <a:lnTo>
                    <a:pt x="678567" y="120465"/>
                  </a:lnTo>
                  <a:lnTo>
                    <a:pt x="659791" y="121399"/>
                  </a:lnTo>
                  <a:lnTo>
                    <a:pt x="754984" y="121399"/>
                  </a:lnTo>
                  <a:lnTo>
                    <a:pt x="752214" y="120582"/>
                  </a:lnTo>
                  <a:lnTo>
                    <a:pt x="708841" y="120582"/>
                  </a:lnTo>
                  <a:lnTo>
                    <a:pt x="692035" y="119532"/>
                  </a:lnTo>
                  <a:close/>
                </a:path>
                <a:path w="979804" h="381000">
                  <a:moveTo>
                    <a:pt x="735382" y="114281"/>
                  </a:moveTo>
                  <a:lnTo>
                    <a:pt x="722701" y="116732"/>
                  </a:lnTo>
                  <a:lnTo>
                    <a:pt x="708841" y="120582"/>
                  </a:lnTo>
                  <a:lnTo>
                    <a:pt x="752214" y="120582"/>
                  </a:lnTo>
                  <a:lnTo>
                    <a:pt x="748652" y="119532"/>
                  </a:lnTo>
                  <a:lnTo>
                    <a:pt x="735382" y="114281"/>
                  </a:lnTo>
                  <a:close/>
                </a:path>
                <a:path w="979804" h="381000">
                  <a:moveTo>
                    <a:pt x="622833" y="112064"/>
                  </a:moveTo>
                  <a:lnTo>
                    <a:pt x="592062" y="113114"/>
                  </a:lnTo>
                  <a:lnTo>
                    <a:pt x="625224" y="113114"/>
                  </a:lnTo>
                  <a:lnTo>
                    <a:pt x="622833" y="112064"/>
                  </a:lnTo>
                  <a:close/>
                </a:path>
              </a:pathLst>
            </a:custGeom>
            <a:solidFill>
              <a:srgbClr val="25252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32" name="object 32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3409950" y="990600"/>
              <a:ext cx="2495550" cy="2486025"/>
            </a:xfrm>
            <a:prstGeom prst="rect">
              <a:avLst/>
            </a:prstGeom>
          </p:spPr>
        </p:pic>
        <p:pic>
          <p:nvPicPr>
            <p:cNvPr id="33" name="object 33"/>
            <p:cNvPicPr/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05200" y="1085850"/>
              <a:ext cx="2305050" cy="2295525"/>
            </a:xfrm>
            <a:prstGeom prst="rect">
              <a:avLst/>
            </a:prstGeom>
          </p:spPr>
        </p:pic>
        <p:pic>
          <p:nvPicPr>
            <p:cNvPr id="34" name="object 34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3686175" y="1362087"/>
              <a:ext cx="2152650" cy="1533512"/>
            </a:xfrm>
            <a:prstGeom prst="rect">
              <a:avLst/>
            </a:prstGeom>
          </p:spPr>
        </p:pic>
        <p:pic>
          <p:nvPicPr>
            <p:cNvPr id="35" name="object 35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3676650" y="2276475"/>
              <a:ext cx="1981200" cy="942975"/>
            </a:xfrm>
            <a:prstGeom prst="rect">
              <a:avLst/>
            </a:prstGeom>
          </p:spPr>
        </p:pic>
      </p:grpSp>
      <p:grpSp>
        <p:nvGrpSpPr>
          <p:cNvPr id="11" name="object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95350" y="2715221"/>
            <a:ext cx="838200" cy="371475"/>
            <a:chOff x="914400" y="2686050"/>
            <a:chExt cx="838200" cy="371475"/>
          </a:xfrm>
        </p:grpSpPr>
        <p:pic>
          <p:nvPicPr>
            <p:cNvPr id="12" name="object 12"/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1181100" y="2686050"/>
              <a:ext cx="571500" cy="66675"/>
            </a:xfrm>
            <a:prstGeom prst="rect">
              <a:avLst/>
            </a:prstGeom>
          </p:spPr>
        </p:pic>
        <p:sp>
          <p:nvSpPr>
            <p:cNvPr id="13" name="object 13"/>
            <p:cNvSpPr/>
            <p:nvPr/>
          </p:nvSpPr>
          <p:spPr>
            <a:xfrm>
              <a:off x="1202104" y="2703732"/>
              <a:ext cx="514350" cy="10160"/>
            </a:xfrm>
            <a:custGeom>
              <a:avLst/>
              <a:gdLst/>
              <a:ahLst/>
              <a:cxnLst/>
              <a:rect l="l" t="t" r="r" b="b"/>
              <a:pathLst>
                <a:path w="514350" h="10160">
                  <a:moveTo>
                    <a:pt x="514350" y="0"/>
                  </a:moveTo>
                  <a:lnTo>
                    <a:pt x="257175" y="0"/>
                  </a:lnTo>
                  <a:lnTo>
                    <a:pt x="0" y="0"/>
                  </a:lnTo>
                  <a:lnTo>
                    <a:pt x="0" y="9537"/>
                  </a:lnTo>
                  <a:lnTo>
                    <a:pt x="514350" y="9537"/>
                  </a:lnTo>
                  <a:lnTo>
                    <a:pt x="514350" y="0"/>
                  </a:lnTo>
                  <a:close/>
                </a:path>
              </a:pathLst>
            </a:custGeom>
            <a:solidFill>
              <a:srgbClr val="30303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4" name="object 14"/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914400" y="2686050"/>
              <a:ext cx="609600" cy="371475"/>
            </a:xfrm>
            <a:prstGeom prst="rect">
              <a:avLst/>
            </a:prstGeom>
          </p:spPr>
        </p:pic>
      </p:grpSp>
      <p:sp>
        <p:nvSpPr>
          <p:cNvPr id="36" name="object 3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938695" y="1363597"/>
            <a:ext cx="1438910" cy="1508125"/>
          </a:xfrm>
          <a:prstGeom prst="rect">
            <a:avLst/>
          </a:prstGeom>
        </p:spPr>
        <p:txBody>
          <a:bodyPr vert="horz" wrap="square" lIns="0" tIns="117475" rIns="0" bIns="0" rtlCol="0">
            <a:spAutoFit/>
          </a:bodyPr>
          <a:lstStyle/>
          <a:p>
            <a:pPr marL="184150" marR="0" lvl="0" indent="0" defTabSz="914400" eaLnBrk="1" fontAlgn="auto" latinLnBrk="0" hangingPunct="1">
              <a:lnSpc>
                <a:spcPct val="100000"/>
              </a:lnSpc>
              <a:spcBef>
                <a:spcPts val="9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5400" b="0" i="0" u="none" strike="noStrike" kern="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</a:rPr>
              <a:t>~$8</a:t>
            </a:r>
            <a:endParaRPr kumimoji="0" sz="5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5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200" b="0" i="0" u="none" strike="noStrike" kern="0" cap="none" spc="10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</a:rPr>
              <a:t>BILLION</a:t>
            </a:r>
            <a:endParaRPr kumimoji="0" sz="3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37" name="object 3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2017971" y="2107350"/>
            <a:ext cx="516890" cy="32639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79375" marR="0" lvl="0" indent="0" defTabSz="914400" eaLnBrk="1" fontAlgn="auto" latinLnBrk="0" hangingPunct="1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0" u="none" strike="noStrike" kern="0" cap="none" spc="7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Calibri"/>
                <a:cs typeface="Calibri"/>
              </a:rPr>
              <a:t>~$800</a:t>
            </a:r>
            <a:endParaRPr kumimoji="0" sz="9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0" u="none" strike="noStrike" kern="0" cap="none" spc="60" normalizeH="0" baseline="0" noProof="0">
                <a:ln>
                  <a:noFill/>
                </a:ln>
                <a:solidFill>
                  <a:srgbClr val="303030"/>
                </a:solidFill>
                <a:effectLst/>
                <a:uLnTx/>
                <a:uFillTx/>
                <a:latin typeface="Calibri"/>
                <a:cs typeface="Calibri"/>
              </a:rPr>
              <a:t>MILLION</a:t>
            </a:r>
            <a:endParaRPr kumimoji="0" sz="95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pic>
        <p:nvPicPr>
          <p:cNvPr id="39" name="object 3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22" cstate="print"/>
          <a:stretch>
            <a:fillRect/>
          </a:stretch>
        </p:blipFill>
        <p:spPr>
          <a:xfrm>
            <a:off x="5829300" y="3752850"/>
            <a:ext cx="657225" cy="657225"/>
          </a:xfrm>
          <a:prstGeom prst="rect">
            <a:avLst/>
          </a:prstGeom>
        </p:spPr>
      </p:pic>
      <p:sp>
        <p:nvSpPr>
          <p:cNvPr id="40" name="object 4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883060" y="3900050"/>
            <a:ext cx="497840" cy="306070"/>
          </a:xfrm>
          <a:custGeom>
            <a:avLst/>
            <a:gdLst/>
            <a:ahLst/>
            <a:cxnLst/>
            <a:rect l="l" t="t" r="r" b="b"/>
            <a:pathLst>
              <a:path w="497839" h="306070">
                <a:moveTo>
                  <a:pt x="62851" y="153669"/>
                </a:moveTo>
                <a:lnTo>
                  <a:pt x="56682" y="152399"/>
                </a:lnTo>
                <a:lnTo>
                  <a:pt x="50767" y="149859"/>
                </a:lnTo>
                <a:lnTo>
                  <a:pt x="9181" y="124459"/>
                </a:lnTo>
                <a:lnTo>
                  <a:pt x="0" y="119379"/>
                </a:lnTo>
                <a:lnTo>
                  <a:pt x="5400" y="110489"/>
                </a:lnTo>
                <a:lnTo>
                  <a:pt x="67509" y="8889"/>
                </a:lnTo>
                <a:lnTo>
                  <a:pt x="72910" y="0"/>
                </a:lnTo>
                <a:lnTo>
                  <a:pt x="82091" y="5079"/>
                </a:lnTo>
                <a:lnTo>
                  <a:pt x="96268" y="13969"/>
                </a:lnTo>
                <a:lnTo>
                  <a:pt x="76150" y="13969"/>
                </a:lnTo>
                <a:lnTo>
                  <a:pt x="14582" y="115569"/>
                </a:lnTo>
                <a:lnTo>
                  <a:pt x="56168" y="140969"/>
                </a:lnTo>
                <a:lnTo>
                  <a:pt x="57788" y="142239"/>
                </a:lnTo>
                <a:lnTo>
                  <a:pt x="81551" y="142239"/>
                </a:lnTo>
                <a:lnTo>
                  <a:pt x="86952" y="148589"/>
                </a:lnTo>
                <a:lnTo>
                  <a:pt x="74530" y="148589"/>
                </a:lnTo>
                <a:lnTo>
                  <a:pt x="68918" y="152399"/>
                </a:lnTo>
                <a:lnTo>
                  <a:pt x="62851" y="153669"/>
                </a:lnTo>
                <a:close/>
              </a:path>
              <a:path w="497839" h="306070">
                <a:moveTo>
                  <a:pt x="381510" y="60959"/>
                </a:moveTo>
                <a:lnTo>
                  <a:pt x="340425" y="60959"/>
                </a:lnTo>
                <a:lnTo>
                  <a:pt x="357657" y="58419"/>
                </a:lnTo>
                <a:lnTo>
                  <a:pt x="366172" y="55879"/>
                </a:lnTo>
                <a:lnTo>
                  <a:pt x="364552" y="52069"/>
                </a:lnTo>
                <a:lnTo>
                  <a:pt x="364552" y="46989"/>
                </a:lnTo>
                <a:lnTo>
                  <a:pt x="365632" y="43179"/>
                </a:lnTo>
                <a:lnTo>
                  <a:pt x="367252" y="38099"/>
                </a:lnTo>
                <a:lnTo>
                  <a:pt x="371033" y="33019"/>
                </a:lnTo>
                <a:lnTo>
                  <a:pt x="375893" y="30479"/>
                </a:lnTo>
                <a:lnTo>
                  <a:pt x="416939" y="5079"/>
                </a:lnTo>
                <a:lnTo>
                  <a:pt x="426120" y="0"/>
                </a:lnTo>
                <a:lnTo>
                  <a:pt x="431521" y="8889"/>
                </a:lnTo>
                <a:lnTo>
                  <a:pt x="434573" y="13969"/>
                </a:lnTo>
                <a:lnTo>
                  <a:pt x="422340" y="13969"/>
                </a:lnTo>
                <a:lnTo>
                  <a:pt x="380754" y="39369"/>
                </a:lnTo>
                <a:lnTo>
                  <a:pt x="379674" y="39369"/>
                </a:lnTo>
                <a:lnTo>
                  <a:pt x="375353" y="43179"/>
                </a:lnTo>
                <a:lnTo>
                  <a:pt x="373733" y="49529"/>
                </a:lnTo>
                <a:lnTo>
                  <a:pt x="376973" y="53339"/>
                </a:lnTo>
                <a:lnTo>
                  <a:pt x="381510" y="60959"/>
                </a:lnTo>
                <a:close/>
              </a:path>
              <a:path w="497839" h="306070">
                <a:moveTo>
                  <a:pt x="81551" y="142239"/>
                </a:moveTo>
                <a:lnTo>
                  <a:pt x="64269" y="142239"/>
                </a:lnTo>
                <a:lnTo>
                  <a:pt x="66969" y="140969"/>
                </a:lnTo>
                <a:lnTo>
                  <a:pt x="68589" y="139699"/>
                </a:lnTo>
                <a:lnTo>
                  <a:pt x="71830" y="134619"/>
                </a:lnTo>
                <a:lnTo>
                  <a:pt x="118817" y="57149"/>
                </a:lnTo>
                <a:lnTo>
                  <a:pt x="122057" y="50799"/>
                </a:lnTo>
                <a:lnTo>
                  <a:pt x="123677" y="46989"/>
                </a:lnTo>
                <a:lnTo>
                  <a:pt x="121517" y="41909"/>
                </a:lnTo>
                <a:lnTo>
                  <a:pt x="117196" y="39369"/>
                </a:lnTo>
                <a:lnTo>
                  <a:pt x="76150" y="13969"/>
                </a:lnTo>
                <a:lnTo>
                  <a:pt x="96268" y="13969"/>
                </a:lnTo>
                <a:lnTo>
                  <a:pt x="122597" y="30479"/>
                </a:lnTo>
                <a:lnTo>
                  <a:pt x="127458" y="33019"/>
                </a:lnTo>
                <a:lnTo>
                  <a:pt x="131238" y="38099"/>
                </a:lnTo>
                <a:lnTo>
                  <a:pt x="132859" y="43179"/>
                </a:lnTo>
                <a:lnTo>
                  <a:pt x="133399" y="46989"/>
                </a:lnTo>
                <a:lnTo>
                  <a:pt x="133399" y="50799"/>
                </a:lnTo>
                <a:lnTo>
                  <a:pt x="132859" y="53339"/>
                </a:lnTo>
                <a:lnTo>
                  <a:pt x="141145" y="57149"/>
                </a:lnTo>
                <a:lnTo>
                  <a:pt x="149736" y="59689"/>
                </a:lnTo>
                <a:lnTo>
                  <a:pt x="158529" y="60959"/>
                </a:lnTo>
                <a:lnTo>
                  <a:pt x="217111" y="60959"/>
                </a:lnTo>
                <a:lnTo>
                  <a:pt x="224132" y="63499"/>
                </a:lnTo>
                <a:lnTo>
                  <a:pt x="127458" y="63499"/>
                </a:lnTo>
                <a:lnTo>
                  <a:pt x="80471" y="140969"/>
                </a:lnTo>
                <a:lnTo>
                  <a:pt x="81551" y="142239"/>
                </a:lnTo>
                <a:close/>
              </a:path>
              <a:path w="497839" h="306070">
                <a:moveTo>
                  <a:pt x="459119" y="142239"/>
                </a:moveTo>
                <a:lnTo>
                  <a:pt x="440163" y="142239"/>
                </a:lnTo>
                <a:lnTo>
                  <a:pt x="441783" y="140969"/>
                </a:lnTo>
                <a:lnTo>
                  <a:pt x="483369" y="115569"/>
                </a:lnTo>
                <a:lnTo>
                  <a:pt x="422340" y="13969"/>
                </a:lnTo>
                <a:lnTo>
                  <a:pt x="434573" y="13969"/>
                </a:lnTo>
                <a:lnTo>
                  <a:pt x="492550" y="110489"/>
                </a:lnTo>
                <a:lnTo>
                  <a:pt x="497411" y="118109"/>
                </a:lnTo>
                <a:lnTo>
                  <a:pt x="488229" y="124459"/>
                </a:lnTo>
                <a:lnTo>
                  <a:pt x="459119" y="142239"/>
                </a:lnTo>
                <a:close/>
              </a:path>
              <a:path w="497839" h="306070">
                <a:moveTo>
                  <a:pt x="182411" y="71119"/>
                </a:moveTo>
                <a:lnTo>
                  <a:pt x="156242" y="71119"/>
                </a:lnTo>
                <a:lnTo>
                  <a:pt x="146293" y="69849"/>
                </a:lnTo>
                <a:lnTo>
                  <a:pt x="136647" y="67309"/>
                </a:lnTo>
                <a:lnTo>
                  <a:pt x="127458" y="63499"/>
                </a:lnTo>
                <a:lnTo>
                  <a:pt x="224132" y="63499"/>
                </a:lnTo>
                <a:lnTo>
                  <a:pt x="228452" y="58419"/>
                </a:lnTo>
                <a:lnTo>
                  <a:pt x="233465" y="54609"/>
                </a:lnTo>
                <a:lnTo>
                  <a:pt x="239389" y="50799"/>
                </a:lnTo>
                <a:lnTo>
                  <a:pt x="245920" y="48259"/>
                </a:lnTo>
                <a:lnTo>
                  <a:pt x="259777" y="48259"/>
                </a:lnTo>
                <a:lnTo>
                  <a:pt x="275979" y="50799"/>
                </a:lnTo>
                <a:lnTo>
                  <a:pt x="283540" y="53339"/>
                </a:lnTo>
                <a:lnTo>
                  <a:pt x="295380" y="57149"/>
                </a:lnTo>
                <a:lnTo>
                  <a:pt x="246275" y="57149"/>
                </a:lnTo>
                <a:lnTo>
                  <a:pt x="240334" y="59689"/>
                </a:lnTo>
                <a:lnTo>
                  <a:pt x="236013" y="64769"/>
                </a:lnTo>
                <a:lnTo>
                  <a:pt x="232645" y="68579"/>
                </a:lnTo>
                <a:lnTo>
                  <a:pt x="197668" y="68579"/>
                </a:lnTo>
                <a:lnTo>
                  <a:pt x="182411" y="71119"/>
                </a:lnTo>
                <a:close/>
              </a:path>
              <a:path w="497839" h="306070">
                <a:moveTo>
                  <a:pt x="341176" y="71119"/>
                </a:moveTo>
                <a:lnTo>
                  <a:pt x="331067" y="71119"/>
                </a:lnTo>
                <a:lnTo>
                  <a:pt x="311835" y="69849"/>
                </a:lnTo>
                <a:lnTo>
                  <a:pt x="293464" y="67309"/>
                </a:lnTo>
                <a:lnTo>
                  <a:pt x="275397" y="62229"/>
                </a:lnTo>
                <a:lnTo>
                  <a:pt x="257076" y="58419"/>
                </a:lnTo>
                <a:lnTo>
                  <a:pt x="255996" y="58419"/>
                </a:lnTo>
                <a:lnTo>
                  <a:pt x="255456" y="57149"/>
                </a:lnTo>
                <a:lnTo>
                  <a:pt x="295380" y="57149"/>
                </a:lnTo>
                <a:lnTo>
                  <a:pt x="307371" y="58419"/>
                </a:lnTo>
                <a:lnTo>
                  <a:pt x="319464" y="60959"/>
                </a:lnTo>
                <a:lnTo>
                  <a:pt x="381510" y="60959"/>
                </a:lnTo>
                <a:lnTo>
                  <a:pt x="383778" y="64769"/>
                </a:lnTo>
                <a:lnTo>
                  <a:pt x="370493" y="64769"/>
                </a:lnTo>
                <a:lnTo>
                  <a:pt x="351185" y="69849"/>
                </a:lnTo>
                <a:lnTo>
                  <a:pt x="341176" y="71119"/>
                </a:lnTo>
                <a:close/>
              </a:path>
              <a:path w="497839" h="306070">
                <a:moveTo>
                  <a:pt x="217111" y="60959"/>
                </a:moveTo>
                <a:lnTo>
                  <a:pt x="174444" y="60959"/>
                </a:lnTo>
                <a:lnTo>
                  <a:pt x="188486" y="59689"/>
                </a:lnTo>
                <a:lnTo>
                  <a:pt x="209549" y="59689"/>
                </a:lnTo>
                <a:lnTo>
                  <a:pt x="217111" y="60959"/>
                </a:lnTo>
                <a:close/>
              </a:path>
              <a:path w="497839" h="306070">
                <a:moveTo>
                  <a:pt x="391111" y="184149"/>
                </a:moveTo>
                <a:lnTo>
                  <a:pt x="377514" y="184149"/>
                </a:lnTo>
                <a:lnTo>
                  <a:pt x="416399" y="139699"/>
                </a:lnTo>
                <a:lnTo>
                  <a:pt x="401817" y="115569"/>
                </a:lnTo>
                <a:lnTo>
                  <a:pt x="370493" y="64769"/>
                </a:lnTo>
                <a:lnTo>
                  <a:pt x="383778" y="64769"/>
                </a:lnTo>
                <a:lnTo>
                  <a:pt x="410998" y="110489"/>
                </a:lnTo>
                <a:lnTo>
                  <a:pt x="425580" y="133349"/>
                </a:lnTo>
                <a:lnTo>
                  <a:pt x="428821" y="139699"/>
                </a:lnTo>
                <a:lnTo>
                  <a:pt x="430981" y="140969"/>
                </a:lnTo>
                <a:lnTo>
                  <a:pt x="433682" y="142239"/>
                </a:lnTo>
                <a:lnTo>
                  <a:pt x="459119" y="142239"/>
                </a:lnTo>
                <a:lnTo>
                  <a:pt x="448723" y="148589"/>
                </a:lnTo>
                <a:lnTo>
                  <a:pt x="421800" y="148589"/>
                </a:lnTo>
                <a:lnTo>
                  <a:pt x="391111" y="184149"/>
                </a:lnTo>
                <a:close/>
              </a:path>
              <a:path w="497839" h="306070">
                <a:moveTo>
                  <a:pt x="212250" y="160019"/>
                </a:moveTo>
                <a:lnTo>
                  <a:pt x="201988" y="160019"/>
                </a:lnTo>
                <a:lnTo>
                  <a:pt x="194427" y="157479"/>
                </a:lnTo>
                <a:lnTo>
                  <a:pt x="188486" y="152399"/>
                </a:lnTo>
                <a:lnTo>
                  <a:pt x="182006" y="146049"/>
                </a:lnTo>
                <a:lnTo>
                  <a:pt x="177685" y="138429"/>
                </a:lnTo>
                <a:lnTo>
                  <a:pt x="177145" y="129539"/>
                </a:lnTo>
                <a:lnTo>
                  <a:pt x="177347" y="123189"/>
                </a:lnTo>
                <a:lnTo>
                  <a:pt x="178765" y="116839"/>
                </a:lnTo>
                <a:lnTo>
                  <a:pt x="181398" y="111759"/>
                </a:lnTo>
                <a:lnTo>
                  <a:pt x="185246" y="106679"/>
                </a:lnTo>
                <a:lnTo>
                  <a:pt x="214950" y="71119"/>
                </a:lnTo>
                <a:lnTo>
                  <a:pt x="210630" y="69849"/>
                </a:lnTo>
                <a:lnTo>
                  <a:pt x="205769" y="68579"/>
                </a:lnTo>
                <a:lnTo>
                  <a:pt x="232645" y="68579"/>
                </a:lnTo>
                <a:lnTo>
                  <a:pt x="193347" y="113029"/>
                </a:lnTo>
                <a:lnTo>
                  <a:pt x="192807" y="114299"/>
                </a:lnTo>
                <a:lnTo>
                  <a:pt x="188748" y="121919"/>
                </a:lnTo>
                <a:lnTo>
                  <a:pt x="187879" y="129539"/>
                </a:lnTo>
                <a:lnTo>
                  <a:pt x="190149" y="137159"/>
                </a:lnTo>
                <a:lnTo>
                  <a:pt x="195507" y="143509"/>
                </a:lnTo>
                <a:lnTo>
                  <a:pt x="199828" y="147319"/>
                </a:lnTo>
                <a:lnTo>
                  <a:pt x="204689" y="148589"/>
                </a:lnTo>
                <a:lnTo>
                  <a:pt x="234393" y="148589"/>
                </a:lnTo>
                <a:lnTo>
                  <a:pt x="228992" y="154939"/>
                </a:lnTo>
                <a:lnTo>
                  <a:pt x="220891" y="158749"/>
                </a:lnTo>
                <a:lnTo>
                  <a:pt x="212250" y="160019"/>
                </a:lnTo>
                <a:close/>
              </a:path>
              <a:path w="497839" h="306070">
                <a:moveTo>
                  <a:pt x="234393" y="148589"/>
                </a:moveTo>
                <a:lnTo>
                  <a:pt x="217651" y="148589"/>
                </a:lnTo>
                <a:lnTo>
                  <a:pt x="222511" y="146049"/>
                </a:lnTo>
                <a:lnTo>
                  <a:pt x="270578" y="90169"/>
                </a:lnTo>
                <a:lnTo>
                  <a:pt x="289606" y="106679"/>
                </a:lnTo>
                <a:lnTo>
                  <a:pt x="271118" y="106679"/>
                </a:lnTo>
                <a:lnTo>
                  <a:pt x="234393" y="148589"/>
                </a:lnTo>
                <a:close/>
              </a:path>
              <a:path w="497839" h="306070">
                <a:moveTo>
                  <a:pt x="341030" y="248919"/>
                </a:moveTo>
                <a:lnTo>
                  <a:pt x="320805" y="248919"/>
                </a:lnTo>
                <a:lnTo>
                  <a:pt x="329008" y="246379"/>
                </a:lnTo>
                <a:lnTo>
                  <a:pt x="335388" y="241299"/>
                </a:lnTo>
                <a:lnTo>
                  <a:pt x="339337" y="233679"/>
                </a:lnTo>
                <a:lnTo>
                  <a:pt x="340248" y="224789"/>
                </a:lnTo>
                <a:lnTo>
                  <a:pt x="340248" y="223519"/>
                </a:lnTo>
                <a:lnTo>
                  <a:pt x="351050" y="223519"/>
                </a:lnTo>
                <a:lnTo>
                  <a:pt x="358940" y="222249"/>
                </a:lnTo>
                <a:lnTo>
                  <a:pt x="365159" y="217169"/>
                </a:lnTo>
                <a:lnTo>
                  <a:pt x="369050" y="209549"/>
                </a:lnTo>
                <a:lnTo>
                  <a:pt x="369952" y="201929"/>
                </a:lnTo>
                <a:lnTo>
                  <a:pt x="369952" y="194309"/>
                </a:lnTo>
                <a:lnTo>
                  <a:pt x="367792" y="189229"/>
                </a:lnTo>
                <a:lnTo>
                  <a:pt x="271118" y="106679"/>
                </a:lnTo>
                <a:lnTo>
                  <a:pt x="289606" y="106679"/>
                </a:lnTo>
                <a:lnTo>
                  <a:pt x="371573" y="177799"/>
                </a:lnTo>
                <a:lnTo>
                  <a:pt x="375893" y="181609"/>
                </a:lnTo>
                <a:lnTo>
                  <a:pt x="377514" y="184149"/>
                </a:lnTo>
                <a:lnTo>
                  <a:pt x="391111" y="184149"/>
                </a:lnTo>
                <a:lnTo>
                  <a:pt x="384535" y="191769"/>
                </a:lnTo>
                <a:lnTo>
                  <a:pt x="380214" y="196849"/>
                </a:lnTo>
                <a:lnTo>
                  <a:pt x="380214" y="200659"/>
                </a:lnTo>
                <a:lnTo>
                  <a:pt x="378543" y="213359"/>
                </a:lnTo>
                <a:lnTo>
                  <a:pt x="372518" y="223519"/>
                </a:lnTo>
                <a:lnTo>
                  <a:pt x="363050" y="231139"/>
                </a:lnTo>
                <a:lnTo>
                  <a:pt x="351050" y="234949"/>
                </a:lnTo>
                <a:lnTo>
                  <a:pt x="348889" y="234949"/>
                </a:lnTo>
                <a:lnTo>
                  <a:pt x="345615" y="242569"/>
                </a:lnTo>
                <a:lnTo>
                  <a:pt x="341030" y="248919"/>
                </a:lnTo>
                <a:close/>
              </a:path>
              <a:path w="497839" h="306070">
                <a:moveTo>
                  <a:pt x="126378" y="245109"/>
                </a:moveTo>
                <a:lnTo>
                  <a:pt x="116656" y="245109"/>
                </a:lnTo>
                <a:lnTo>
                  <a:pt x="110715" y="242569"/>
                </a:lnTo>
                <a:lnTo>
                  <a:pt x="105855" y="237489"/>
                </a:lnTo>
                <a:lnTo>
                  <a:pt x="99593" y="229869"/>
                </a:lnTo>
                <a:lnTo>
                  <a:pt x="97078" y="219709"/>
                </a:lnTo>
                <a:lnTo>
                  <a:pt x="98412" y="209549"/>
                </a:lnTo>
                <a:lnTo>
                  <a:pt x="103694" y="200659"/>
                </a:lnTo>
                <a:lnTo>
                  <a:pt x="111255" y="191769"/>
                </a:lnTo>
                <a:lnTo>
                  <a:pt x="110175" y="190499"/>
                </a:lnTo>
                <a:lnTo>
                  <a:pt x="109635" y="190499"/>
                </a:lnTo>
                <a:lnTo>
                  <a:pt x="74530" y="148589"/>
                </a:lnTo>
                <a:lnTo>
                  <a:pt x="86952" y="148589"/>
                </a:lnTo>
                <a:lnTo>
                  <a:pt x="117196" y="184149"/>
                </a:lnTo>
                <a:lnTo>
                  <a:pt x="132405" y="184149"/>
                </a:lnTo>
                <a:lnTo>
                  <a:pt x="111796" y="207009"/>
                </a:lnTo>
                <a:lnTo>
                  <a:pt x="109635" y="209549"/>
                </a:lnTo>
                <a:lnTo>
                  <a:pt x="108015" y="213359"/>
                </a:lnTo>
                <a:lnTo>
                  <a:pt x="108015" y="226059"/>
                </a:lnTo>
                <a:lnTo>
                  <a:pt x="115036" y="233679"/>
                </a:lnTo>
                <a:lnTo>
                  <a:pt x="147981" y="233679"/>
                </a:lnTo>
                <a:lnTo>
                  <a:pt x="147981" y="241299"/>
                </a:lnTo>
                <a:lnTo>
                  <a:pt x="136639" y="241299"/>
                </a:lnTo>
                <a:lnTo>
                  <a:pt x="130158" y="243839"/>
                </a:lnTo>
                <a:lnTo>
                  <a:pt x="126378" y="245109"/>
                </a:lnTo>
                <a:close/>
              </a:path>
              <a:path w="497839" h="306070">
                <a:moveTo>
                  <a:pt x="440331" y="152399"/>
                </a:moveTo>
                <a:lnTo>
                  <a:pt x="427504" y="152399"/>
                </a:lnTo>
                <a:lnTo>
                  <a:pt x="421800" y="148589"/>
                </a:lnTo>
                <a:lnTo>
                  <a:pt x="448723" y="148589"/>
                </a:lnTo>
                <a:lnTo>
                  <a:pt x="446643" y="149859"/>
                </a:lnTo>
                <a:lnTo>
                  <a:pt x="440331" y="152399"/>
                </a:lnTo>
                <a:close/>
              </a:path>
              <a:path w="497839" h="306070">
                <a:moveTo>
                  <a:pt x="132405" y="184149"/>
                </a:moveTo>
                <a:lnTo>
                  <a:pt x="117736" y="184149"/>
                </a:lnTo>
                <a:lnTo>
                  <a:pt x="131778" y="167639"/>
                </a:lnTo>
                <a:lnTo>
                  <a:pt x="137179" y="162559"/>
                </a:lnTo>
                <a:lnTo>
                  <a:pt x="144740" y="158749"/>
                </a:lnTo>
                <a:lnTo>
                  <a:pt x="158782" y="158749"/>
                </a:lnTo>
                <a:lnTo>
                  <a:pt x="164723" y="161289"/>
                </a:lnTo>
                <a:lnTo>
                  <a:pt x="169584" y="165099"/>
                </a:lnTo>
                <a:lnTo>
                  <a:pt x="173634" y="168909"/>
                </a:lnTo>
                <a:lnTo>
                  <a:pt x="147981" y="168909"/>
                </a:lnTo>
                <a:lnTo>
                  <a:pt x="143660" y="171449"/>
                </a:lnTo>
                <a:lnTo>
                  <a:pt x="140420" y="175259"/>
                </a:lnTo>
                <a:lnTo>
                  <a:pt x="132405" y="184149"/>
                </a:lnTo>
                <a:close/>
              </a:path>
              <a:path w="497839" h="306070">
                <a:moveTo>
                  <a:pt x="147981" y="233679"/>
                </a:moveTo>
                <a:lnTo>
                  <a:pt x="129618" y="233679"/>
                </a:lnTo>
                <a:lnTo>
                  <a:pt x="133399" y="231139"/>
                </a:lnTo>
                <a:lnTo>
                  <a:pt x="136099" y="228599"/>
                </a:lnTo>
                <a:lnTo>
                  <a:pt x="164723" y="195579"/>
                </a:lnTo>
                <a:lnTo>
                  <a:pt x="167888" y="190499"/>
                </a:lnTo>
                <a:lnTo>
                  <a:pt x="168571" y="184149"/>
                </a:lnTo>
                <a:lnTo>
                  <a:pt x="166926" y="177799"/>
                </a:lnTo>
                <a:lnTo>
                  <a:pt x="163103" y="172719"/>
                </a:lnTo>
                <a:lnTo>
                  <a:pt x="160402" y="171449"/>
                </a:lnTo>
                <a:lnTo>
                  <a:pt x="156622" y="168909"/>
                </a:lnTo>
                <a:lnTo>
                  <a:pt x="173634" y="168909"/>
                </a:lnTo>
                <a:lnTo>
                  <a:pt x="174985" y="170179"/>
                </a:lnTo>
                <a:lnTo>
                  <a:pt x="178225" y="176529"/>
                </a:lnTo>
                <a:lnTo>
                  <a:pt x="178765" y="184149"/>
                </a:lnTo>
                <a:lnTo>
                  <a:pt x="197938" y="184149"/>
                </a:lnTo>
                <a:lnTo>
                  <a:pt x="200908" y="185419"/>
                </a:lnTo>
                <a:lnTo>
                  <a:pt x="205769" y="189229"/>
                </a:lnTo>
                <a:lnTo>
                  <a:pt x="211710" y="194309"/>
                </a:lnTo>
                <a:lnTo>
                  <a:pt x="184166" y="194309"/>
                </a:lnTo>
                <a:lnTo>
                  <a:pt x="179845" y="195579"/>
                </a:lnTo>
                <a:lnTo>
                  <a:pt x="176605" y="199389"/>
                </a:lnTo>
                <a:lnTo>
                  <a:pt x="151761" y="227329"/>
                </a:lnTo>
                <a:lnTo>
                  <a:pt x="149601" y="231139"/>
                </a:lnTo>
                <a:lnTo>
                  <a:pt x="147981" y="233679"/>
                </a:lnTo>
                <a:close/>
              </a:path>
              <a:path w="497839" h="306070">
                <a:moveTo>
                  <a:pt x="197938" y="184149"/>
                </a:moveTo>
                <a:lnTo>
                  <a:pt x="182006" y="184149"/>
                </a:lnTo>
                <a:lnTo>
                  <a:pt x="185246" y="182879"/>
                </a:lnTo>
                <a:lnTo>
                  <a:pt x="194967" y="182879"/>
                </a:lnTo>
                <a:lnTo>
                  <a:pt x="197938" y="184149"/>
                </a:lnTo>
                <a:close/>
              </a:path>
              <a:path w="497839" h="306070">
                <a:moveTo>
                  <a:pt x="186731" y="253999"/>
                </a:moveTo>
                <a:lnTo>
                  <a:pt x="169584" y="253999"/>
                </a:lnTo>
                <a:lnTo>
                  <a:pt x="173364" y="252729"/>
                </a:lnTo>
                <a:lnTo>
                  <a:pt x="176065" y="248919"/>
                </a:lnTo>
                <a:lnTo>
                  <a:pt x="200908" y="219709"/>
                </a:lnTo>
                <a:lnTo>
                  <a:pt x="204073" y="214629"/>
                </a:lnTo>
                <a:lnTo>
                  <a:pt x="204756" y="208279"/>
                </a:lnTo>
                <a:lnTo>
                  <a:pt x="203111" y="203199"/>
                </a:lnTo>
                <a:lnTo>
                  <a:pt x="199288" y="198119"/>
                </a:lnTo>
                <a:lnTo>
                  <a:pt x="196588" y="195579"/>
                </a:lnTo>
                <a:lnTo>
                  <a:pt x="192807" y="194309"/>
                </a:lnTo>
                <a:lnTo>
                  <a:pt x="211710" y="194309"/>
                </a:lnTo>
                <a:lnTo>
                  <a:pt x="214950" y="201929"/>
                </a:lnTo>
                <a:lnTo>
                  <a:pt x="214950" y="209549"/>
                </a:lnTo>
                <a:lnTo>
                  <a:pt x="231423" y="209549"/>
                </a:lnTo>
                <a:lnTo>
                  <a:pt x="234393" y="210819"/>
                </a:lnTo>
                <a:lnTo>
                  <a:pt x="238714" y="214629"/>
                </a:lnTo>
                <a:lnTo>
                  <a:pt x="243574" y="218439"/>
                </a:lnTo>
                <a:lnTo>
                  <a:pt x="244114" y="219709"/>
                </a:lnTo>
                <a:lnTo>
                  <a:pt x="219271" y="219709"/>
                </a:lnTo>
                <a:lnTo>
                  <a:pt x="215490" y="220979"/>
                </a:lnTo>
                <a:lnTo>
                  <a:pt x="212790" y="223519"/>
                </a:lnTo>
                <a:lnTo>
                  <a:pt x="187946" y="252729"/>
                </a:lnTo>
                <a:lnTo>
                  <a:pt x="186731" y="253999"/>
                </a:lnTo>
                <a:close/>
              </a:path>
              <a:path w="497839" h="306070">
                <a:moveTo>
                  <a:pt x="231423" y="209549"/>
                </a:moveTo>
                <a:lnTo>
                  <a:pt x="217651" y="209549"/>
                </a:lnTo>
                <a:lnTo>
                  <a:pt x="219811" y="208279"/>
                </a:lnTo>
                <a:lnTo>
                  <a:pt x="228452" y="208279"/>
                </a:lnTo>
                <a:lnTo>
                  <a:pt x="231423" y="209549"/>
                </a:lnTo>
                <a:close/>
              </a:path>
              <a:path w="497839" h="306070">
                <a:moveTo>
                  <a:pt x="219271" y="274319"/>
                </a:moveTo>
                <a:lnTo>
                  <a:pt x="202528" y="274319"/>
                </a:lnTo>
                <a:lnTo>
                  <a:pt x="205769" y="273049"/>
                </a:lnTo>
                <a:lnTo>
                  <a:pt x="232773" y="241299"/>
                </a:lnTo>
                <a:lnTo>
                  <a:pt x="237634" y="236219"/>
                </a:lnTo>
                <a:lnTo>
                  <a:pt x="237093" y="227329"/>
                </a:lnTo>
                <a:lnTo>
                  <a:pt x="231693" y="222249"/>
                </a:lnTo>
                <a:lnTo>
                  <a:pt x="229532" y="219709"/>
                </a:lnTo>
                <a:lnTo>
                  <a:pt x="244114" y="219709"/>
                </a:lnTo>
                <a:lnTo>
                  <a:pt x="246275" y="224789"/>
                </a:lnTo>
                <a:lnTo>
                  <a:pt x="246815" y="231139"/>
                </a:lnTo>
                <a:lnTo>
                  <a:pt x="257616" y="231139"/>
                </a:lnTo>
                <a:lnTo>
                  <a:pt x="262477" y="232409"/>
                </a:lnTo>
                <a:lnTo>
                  <a:pt x="266258" y="236219"/>
                </a:lnTo>
                <a:lnTo>
                  <a:pt x="270295" y="241299"/>
                </a:lnTo>
                <a:lnTo>
                  <a:pt x="248975" y="241299"/>
                </a:lnTo>
                <a:lnTo>
                  <a:pt x="246275" y="242569"/>
                </a:lnTo>
                <a:lnTo>
                  <a:pt x="244114" y="245109"/>
                </a:lnTo>
                <a:lnTo>
                  <a:pt x="223051" y="269239"/>
                </a:lnTo>
                <a:lnTo>
                  <a:pt x="219271" y="274319"/>
                </a:lnTo>
                <a:close/>
              </a:path>
              <a:path w="497839" h="306070">
                <a:moveTo>
                  <a:pt x="342409" y="223519"/>
                </a:moveTo>
                <a:lnTo>
                  <a:pt x="339708" y="223519"/>
                </a:lnTo>
                <a:lnTo>
                  <a:pt x="339708" y="222249"/>
                </a:lnTo>
                <a:lnTo>
                  <a:pt x="342409" y="223519"/>
                </a:lnTo>
                <a:close/>
              </a:path>
              <a:path w="497839" h="306070">
                <a:moveTo>
                  <a:pt x="170124" y="264159"/>
                </a:moveTo>
                <a:lnTo>
                  <a:pt x="156082" y="264159"/>
                </a:lnTo>
                <a:lnTo>
                  <a:pt x="150141" y="262889"/>
                </a:lnTo>
                <a:lnTo>
                  <a:pt x="140420" y="253999"/>
                </a:lnTo>
                <a:lnTo>
                  <a:pt x="137179" y="247649"/>
                </a:lnTo>
                <a:lnTo>
                  <a:pt x="136639" y="241299"/>
                </a:lnTo>
                <a:lnTo>
                  <a:pt x="147981" y="241299"/>
                </a:lnTo>
                <a:lnTo>
                  <a:pt x="147981" y="246379"/>
                </a:lnTo>
                <a:lnTo>
                  <a:pt x="155002" y="253999"/>
                </a:lnTo>
                <a:lnTo>
                  <a:pt x="186731" y="253999"/>
                </a:lnTo>
                <a:lnTo>
                  <a:pt x="183086" y="257809"/>
                </a:lnTo>
                <a:lnTo>
                  <a:pt x="183394" y="262889"/>
                </a:lnTo>
                <a:lnTo>
                  <a:pt x="172824" y="262889"/>
                </a:lnTo>
                <a:lnTo>
                  <a:pt x="170124" y="264159"/>
                </a:lnTo>
                <a:close/>
              </a:path>
              <a:path w="497839" h="306070">
                <a:moveTo>
                  <a:pt x="252540" y="287019"/>
                </a:moveTo>
                <a:lnTo>
                  <a:pt x="234933" y="287019"/>
                </a:lnTo>
                <a:lnTo>
                  <a:pt x="237634" y="285749"/>
                </a:lnTo>
                <a:lnTo>
                  <a:pt x="239254" y="283209"/>
                </a:lnTo>
                <a:lnTo>
                  <a:pt x="260317" y="259079"/>
                </a:lnTo>
                <a:lnTo>
                  <a:pt x="264097" y="255269"/>
                </a:lnTo>
                <a:lnTo>
                  <a:pt x="263557" y="247649"/>
                </a:lnTo>
                <a:lnTo>
                  <a:pt x="259237" y="243839"/>
                </a:lnTo>
                <a:lnTo>
                  <a:pt x="254916" y="241299"/>
                </a:lnTo>
                <a:lnTo>
                  <a:pt x="270295" y="241299"/>
                </a:lnTo>
                <a:lnTo>
                  <a:pt x="271304" y="242569"/>
                </a:lnTo>
                <a:lnTo>
                  <a:pt x="273414" y="250189"/>
                </a:lnTo>
                <a:lnTo>
                  <a:pt x="272485" y="259079"/>
                </a:lnTo>
                <a:lnTo>
                  <a:pt x="268418" y="266699"/>
                </a:lnTo>
                <a:lnTo>
                  <a:pt x="251135" y="285749"/>
                </a:lnTo>
                <a:lnTo>
                  <a:pt x="252540" y="287019"/>
                </a:lnTo>
                <a:close/>
              </a:path>
              <a:path w="497839" h="306070">
                <a:moveTo>
                  <a:pt x="316732" y="271779"/>
                </a:moveTo>
                <a:lnTo>
                  <a:pt x="295962" y="271779"/>
                </a:lnTo>
                <a:lnTo>
                  <a:pt x="304164" y="269239"/>
                </a:lnTo>
                <a:lnTo>
                  <a:pt x="310544" y="264159"/>
                </a:lnTo>
                <a:lnTo>
                  <a:pt x="314493" y="256539"/>
                </a:lnTo>
                <a:lnTo>
                  <a:pt x="315405" y="248919"/>
                </a:lnTo>
                <a:lnTo>
                  <a:pt x="315405" y="247649"/>
                </a:lnTo>
                <a:lnTo>
                  <a:pt x="317025" y="248919"/>
                </a:lnTo>
                <a:lnTo>
                  <a:pt x="341030" y="248919"/>
                </a:lnTo>
                <a:lnTo>
                  <a:pt x="340113" y="250189"/>
                </a:lnTo>
                <a:lnTo>
                  <a:pt x="332788" y="255269"/>
                </a:lnTo>
                <a:lnTo>
                  <a:pt x="324046" y="259079"/>
                </a:lnTo>
                <a:lnTo>
                  <a:pt x="320468" y="266699"/>
                </a:lnTo>
                <a:lnTo>
                  <a:pt x="316732" y="271779"/>
                </a:lnTo>
                <a:close/>
              </a:path>
              <a:path w="497839" h="306070">
                <a:moveTo>
                  <a:pt x="202528" y="284479"/>
                </a:moveTo>
                <a:lnTo>
                  <a:pt x="190647" y="284479"/>
                </a:lnTo>
                <a:lnTo>
                  <a:pt x="185246" y="281939"/>
                </a:lnTo>
                <a:lnTo>
                  <a:pt x="180925" y="278129"/>
                </a:lnTo>
                <a:lnTo>
                  <a:pt x="176065" y="274319"/>
                </a:lnTo>
                <a:lnTo>
                  <a:pt x="173364" y="269239"/>
                </a:lnTo>
                <a:lnTo>
                  <a:pt x="172824" y="262889"/>
                </a:lnTo>
                <a:lnTo>
                  <a:pt x="183394" y="262889"/>
                </a:lnTo>
                <a:lnTo>
                  <a:pt x="183626" y="266699"/>
                </a:lnTo>
                <a:lnTo>
                  <a:pt x="189027" y="270509"/>
                </a:lnTo>
                <a:lnTo>
                  <a:pt x="191727" y="273049"/>
                </a:lnTo>
                <a:lnTo>
                  <a:pt x="194427" y="274319"/>
                </a:lnTo>
                <a:lnTo>
                  <a:pt x="219271" y="274319"/>
                </a:lnTo>
                <a:lnTo>
                  <a:pt x="219811" y="280669"/>
                </a:lnTo>
                <a:lnTo>
                  <a:pt x="209009" y="280669"/>
                </a:lnTo>
                <a:lnTo>
                  <a:pt x="202528" y="284479"/>
                </a:lnTo>
                <a:close/>
              </a:path>
              <a:path w="497839" h="306070">
                <a:moveTo>
                  <a:pt x="291962" y="294639"/>
                </a:moveTo>
                <a:lnTo>
                  <a:pt x="271118" y="294639"/>
                </a:lnTo>
                <a:lnTo>
                  <a:pt x="279321" y="292099"/>
                </a:lnTo>
                <a:lnTo>
                  <a:pt x="285700" y="287019"/>
                </a:lnTo>
                <a:lnTo>
                  <a:pt x="289650" y="280669"/>
                </a:lnTo>
                <a:lnTo>
                  <a:pt x="290561" y="271779"/>
                </a:lnTo>
                <a:lnTo>
                  <a:pt x="290561" y="270509"/>
                </a:lnTo>
                <a:lnTo>
                  <a:pt x="292181" y="271779"/>
                </a:lnTo>
                <a:lnTo>
                  <a:pt x="316732" y="271779"/>
                </a:lnTo>
                <a:lnTo>
                  <a:pt x="314865" y="274319"/>
                </a:lnTo>
                <a:lnTo>
                  <a:pt x="307641" y="279399"/>
                </a:lnTo>
                <a:lnTo>
                  <a:pt x="299202" y="281939"/>
                </a:lnTo>
                <a:lnTo>
                  <a:pt x="295118" y="290829"/>
                </a:lnTo>
                <a:lnTo>
                  <a:pt x="291962" y="294639"/>
                </a:lnTo>
                <a:close/>
              </a:path>
              <a:path w="497839" h="306070">
                <a:moveTo>
                  <a:pt x="233313" y="297179"/>
                </a:moveTo>
                <a:lnTo>
                  <a:pt x="225212" y="297179"/>
                </a:lnTo>
                <a:lnTo>
                  <a:pt x="219811" y="295909"/>
                </a:lnTo>
                <a:lnTo>
                  <a:pt x="215490" y="292099"/>
                </a:lnTo>
                <a:lnTo>
                  <a:pt x="212250" y="288289"/>
                </a:lnTo>
                <a:lnTo>
                  <a:pt x="210090" y="284479"/>
                </a:lnTo>
                <a:lnTo>
                  <a:pt x="209009" y="280669"/>
                </a:lnTo>
                <a:lnTo>
                  <a:pt x="219811" y="280669"/>
                </a:lnTo>
                <a:lnTo>
                  <a:pt x="224132" y="284479"/>
                </a:lnTo>
                <a:lnTo>
                  <a:pt x="226292" y="287019"/>
                </a:lnTo>
                <a:lnTo>
                  <a:pt x="252540" y="287019"/>
                </a:lnTo>
                <a:lnTo>
                  <a:pt x="258156" y="292099"/>
                </a:lnTo>
                <a:lnTo>
                  <a:pt x="261937" y="293369"/>
                </a:lnTo>
                <a:lnTo>
                  <a:pt x="242494" y="293369"/>
                </a:lnTo>
                <a:lnTo>
                  <a:pt x="239794" y="294639"/>
                </a:lnTo>
                <a:lnTo>
                  <a:pt x="233313" y="297179"/>
                </a:lnTo>
                <a:close/>
              </a:path>
              <a:path w="497839" h="306070">
                <a:moveTo>
                  <a:pt x="271118" y="306069"/>
                </a:moveTo>
                <a:lnTo>
                  <a:pt x="262477" y="306069"/>
                </a:lnTo>
                <a:lnTo>
                  <a:pt x="256536" y="303529"/>
                </a:lnTo>
                <a:lnTo>
                  <a:pt x="251676" y="300989"/>
                </a:lnTo>
                <a:lnTo>
                  <a:pt x="250595" y="299719"/>
                </a:lnTo>
                <a:lnTo>
                  <a:pt x="243034" y="293369"/>
                </a:lnTo>
                <a:lnTo>
                  <a:pt x="261937" y="293369"/>
                </a:lnTo>
                <a:lnTo>
                  <a:pt x="265718" y="294639"/>
                </a:lnTo>
                <a:lnTo>
                  <a:pt x="291962" y="294639"/>
                </a:lnTo>
                <a:lnTo>
                  <a:pt x="288806" y="298449"/>
                </a:lnTo>
                <a:lnTo>
                  <a:pt x="280671" y="303529"/>
                </a:lnTo>
                <a:lnTo>
                  <a:pt x="271118" y="30606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41" name="object 4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23" cstate="print"/>
          <a:stretch>
            <a:fillRect/>
          </a:stretch>
        </p:blipFill>
        <p:spPr>
          <a:xfrm>
            <a:off x="923925" y="3752850"/>
            <a:ext cx="666750" cy="657225"/>
          </a:xfrm>
          <a:prstGeom prst="rect">
            <a:avLst/>
          </a:prstGeom>
        </p:spPr>
      </p:pic>
      <p:pic>
        <p:nvPicPr>
          <p:cNvPr id="42" name="object 4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682" y="3839551"/>
            <a:ext cx="439604" cy="430529"/>
          </a:xfrm>
          <a:prstGeom prst="rect">
            <a:avLst/>
          </a:prstGeom>
        </p:spPr>
      </p:pic>
      <p:pic>
        <p:nvPicPr>
          <p:cNvPr id="43" name="object 4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25" cstate="print"/>
          <a:stretch>
            <a:fillRect/>
          </a:stretch>
        </p:blipFill>
        <p:spPr>
          <a:xfrm>
            <a:off x="4248150" y="3790950"/>
            <a:ext cx="571500" cy="571500"/>
          </a:xfrm>
          <a:prstGeom prst="rect">
            <a:avLst/>
          </a:prstGeom>
        </p:spPr>
      </p:pic>
      <p:sp>
        <p:nvSpPr>
          <p:cNvPr id="44" name="object 4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72073" y="3856153"/>
            <a:ext cx="271145" cy="369570"/>
          </a:xfrm>
          <a:custGeom>
            <a:avLst/>
            <a:gdLst/>
            <a:ahLst/>
            <a:cxnLst/>
            <a:rect l="l" t="t" r="r" b="b"/>
            <a:pathLst>
              <a:path w="271145" h="369570">
                <a:moveTo>
                  <a:pt x="70352" y="85089"/>
                </a:moveTo>
                <a:lnTo>
                  <a:pt x="61336" y="85089"/>
                </a:lnTo>
                <a:lnTo>
                  <a:pt x="61336" y="77469"/>
                </a:lnTo>
                <a:lnTo>
                  <a:pt x="84926" y="27939"/>
                </a:lnTo>
                <a:lnTo>
                  <a:pt x="102743" y="15239"/>
                </a:lnTo>
                <a:lnTo>
                  <a:pt x="105641" y="8889"/>
                </a:lnTo>
                <a:lnTo>
                  <a:pt x="110326" y="3809"/>
                </a:lnTo>
                <a:lnTo>
                  <a:pt x="116353" y="0"/>
                </a:lnTo>
                <a:lnTo>
                  <a:pt x="154713" y="0"/>
                </a:lnTo>
                <a:lnTo>
                  <a:pt x="160714" y="3809"/>
                </a:lnTo>
                <a:lnTo>
                  <a:pt x="165393" y="8889"/>
                </a:lnTo>
                <a:lnTo>
                  <a:pt x="117672" y="8889"/>
                </a:lnTo>
                <a:lnTo>
                  <a:pt x="112789" y="12699"/>
                </a:lnTo>
                <a:lnTo>
                  <a:pt x="111425" y="17779"/>
                </a:lnTo>
                <a:lnTo>
                  <a:pt x="113044" y="24129"/>
                </a:lnTo>
                <a:lnTo>
                  <a:pt x="104681" y="24129"/>
                </a:lnTo>
                <a:lnTo>
                  <a:pt x="91112" y="34289"/>
                </a:lnTo>
                <a:lnTo>
                  <a:pt x="80578" y="46989"/>
                </a:lnTo>
                <a:lnTo>
                  <a:pt x="73514" y="60959"/>
                </a:lnTo>
                <a:lnTo>
                  <a:pt x="70352" y="77469"/>
                </a:lnTo>
                <a:lnTo>
                  <a:pt x="70352" y="85089"/>
                </a:lnTo>
                <a:close/>
              </a:path>
              <a:path w="271145" h="369570">
                <a:moveTo>
                  <a:pt x="157977" y="53339"/>
                </a:moveTo>
                <a:lnTo>
                  <a:pt x="152756" y="53339"/>
                </a:lnTo>
                <a:lnTo>
                  <a:pt x="151355" y="50799"/>
                </a:lnTo>
                <a:lnTo>
                  <a:pt x="151830" y="48259"/>
                </a:lnTo>
                <a:lnTo>
                  <a:pt x="159649" y="17779"/>
                </a:lnTo>
                <a:lnTo>
                  <a:pt x="158285" y="12699"/>
                </a:lnTo>
                <a:lnTo>
                  <a:pt x="153402" y="8889"/>
                </a:lnTo>
                <a:lnTo>
                  <a:pt x="165393" y="8889"/>
                </a:lnTo>
                <a:lnTo>
                  <a:pt x="168312" y="15239"/>
                </a:lnTo>
                <a:lnTo>
                  <a:pt x="170887" y="16509"/>
                </a:lnTo>
                <a:lnTo>
                  <a:pt x="181209" y="24129"/>
                </a:lnTo>
                <a:lnTo>
                  <a:pt x="166600" y="24129"/>
                </a:lnTo>
                <a:lnTo>
                  <a:pt x="160060" y="50799"/>
                </a:lnTo>
                <a:lnTo>
                  <a:pt x="159617" y="52069"/>
                </a:lnTo>
                <a:lnTo>
                  <a:pt x="157977" y="53339"/>
                </a:lnTo>
                <a:close/>
              </a:path>
              <a:path w="271145" h="369570">
                <a:moveTo>
                  <a:pt x="118494" y="53339"/>
                </a:moveTo>
                <a:lnTo>
                  <a:pt x="113087" y="53339"/>
                </a:lnTo>
                <a:lnTo>
                  <a:pt x="111448" y="52069"/>
                </a:lnTo>
                <a:lnTo>
                  <a:pt x="104681" y="24129"/>
                </a:lnTo>
                <a:lnTo>
                  <a:pt x="113044" y="24129"/>
                </a:lnTo>
                <a:lnTo>
                  <a:pt x="119194" y="48259"/>
                </a:lnTo>
                <a:lnTo>
                  <a:pt x="119782" y="50799"/>
                </a:lnTo>
                <a:lnTo>
                  <a:pt x="118494" y="53339"/>
                </a:lnTo>
                <a:close/>
              </a:path>
              <a:path w="271145" h="369570">
                <a:moveTo>
                  <a:pt x="209959" y="85089"/>
                </a:moveTo>
                <a:lnTo>
                  <a:pt x="200930" y="85089"/>
                </a:lnTo>
                <a:lnTo>
                  <a:pt x="200930" y="77469"/>
                </a:lnTo>
                <a:lnTo>
                  <a:pt x="197767" y="60959"/>
                </a:lnTo>
                <a:lnTo>
                  <a:pt x="190703" y="46989"/>
                </a:lnTo>
                <a:lnTo>
                  <a:pt x="180170" y="34289"/>
                </a:lnTo>
                <a:lnTo>
                  <a:pt x="166600" y="24129"/>
                </a:lnTo>
                <a:lnTo>
                  <a:pt x="181209" y="24129"/>
                </a:lnTo>
                <a:lnTo>
                  <a:pt x="186370" y="27939"/>
                </a:lnTo>
                <a:lnTo>
                  <a:pt x="198376" y="41909"/>
                </a:lnTo>
                <a:lnTo>
                  <a:pt x="206406" y="58419"/>
                </a:lnTo>
                <a:lnTo>
                  <a:pt x="209959" y="77469"/>
                </a:lnTo>
                <a:lnTo>
                  <a:pt x="209959" y="85089"/>
                </a:lnTo>
                <a:close/>
              </a:path>
              <a:path w="271145" h="369570">
                <a:moveTo>
                  <a:pt x="223826" y="93979"/>
                </a:moveTo>
                <a:lnTo>
                  <a:pt x="47193" y="93979"/>
                </a:lnTo>
                <a:lnTo>
                  <a:pt x="45170" y="92709"/>
                </a:lnTo>
                <a:lnTo>
                  <a:pt x="45170" y="87629"/>
                </a:lnTo>
                <a:lnTo>
                  <a:pt x="47193" y="85089"/>
                </a:lnTo>
                <a:lnTo>
                  <a:pt x="223826" y="85089"/>
                </a:lnTo>
                <a:lnTo>
                  <a:pt x="225850" y="87629"/>
                </a:lnTo>
                <a:lnTo>
                  <a:pt x="225850" y="92709"/>
                </a:lnTo>
                <a:lnTo>
                  <a:pt x="223826" y="93979"/>
                </a:lnTo>
                <a:close/>
              </a:path>
              <a:path w="271145" h="369570">
                <a:moveTo>
                  <a:pt x="136960" y="369569"/>
                </a:moveTo>
                <a:lnTo>
                  <a:pt x="94922" y="368299"/>
                </a:lnTo>
                <a:lnTo>
                  <a:pt x="56134" y="364489"/>
                </a:lnTo>
                <a:lnTo>
                  <a:pt x="2010" y="349249"/>
                </a:lnTo>
                <a:lnTo>
                  <a:pt x="0" y="346709"/>
                </a:lnTo>
                <a:lnTo>
                  <a:pt x="0" y="270509"/>
                </a:lnTo>
                <a:lnTo>
                  <a:pt x="23365" y="233679"/>
                </a:lnTo>
                <a:lnTo>
                  <a:pt x="50247" y="218439"/>
                </a:lnTo>
                <a:lnTo>
                  <a:pt x="57397" y="214629"/>
                </a:lnTo>
                <a:lnTo>
                  <a:pt x="62443" y="213359"/>
                </a:lnTo>
                <a:lnTo>
                  <a:pt x="67917" y="210819"/>
                </a:lnTo>
                <a:lnTo>
                  <a:pt x="59742" y="194309"/>
                </a:lnTo>
                <a:lnTo>
                  <a:pt x="51019" y="167639"/>
                </a:lnTo>
                <a:lnTo>
                  <a:pt x="47656" y="133349"/>
                </a:lnTo>
                <a:lnTo>
                  <a:pt x="55559" y="93979"/>
                </a:lnTo>
                <a:lnTo>
                  <a:pt x="65297" y="93979"/>
                </a:lnTo>
                <a:lnTo>
                  <a:pt x="56700" y="133349"/>
                </a:lnTo>
                <a:lnTo>
                  <a:pt x="60197" y="167639"/>
                </a:lnTo>
                <a:lnTo>
                  <a:pt x="69037" y="193039"/>
                </a:lnTo>
                <a:lnTo>
                  <a:pt x="76472" y="207009"/>
                </a:lnTo>
                <a:lnTo>
                  <a:pt x="97463" y="207009"/>
                </a:lnTo>
                <a:lnTo>
                  <a:pt x="99523" y="212089"/>
                </a:lnTo>
                <a:lnTo>
                  <a:pt x="89450" y="212089"/>
                </a:lnTo>
                <a:lnTo>
                  <a:pt x="81102" y="214629"/>
                </a:lnTo>
                <a:lnTo>
                  <a:pt x="61851" y="223519"/>
                </a:lnTo>
                <a:lnTo>
                  <a:pt x="61248" y="227329"/>
                </a:lnTo>
                <a:lnTo>
                  <a:pt x="52049" y="227329"/>
                </a:lnTo>
                <a:lnTo>
                  <a:pt x="16117" y="251459"/>
                </a:lnTo>
                <a:lnTo>
                  <a:pt x="9034" y="270509"/>
                </a:lnTo>
                <a:lnTo>
                  <a:pt x="9034" y="342899"/>
                </a:lnTo>
                <a:lnTo>
                  <a:pt x="15559" y="345439"/>
                </a:lnTo>
                <a:lnTo>
                  <a:pt x="29166" y="350519"/>
                </a:lnTo>
                <a:lnTo>
                  <a:pt x="36194" y="351789"/>
                </a:lnTo>
                <a:lnTo>
                  <a:pt x="45192" y="351789"/>
                </a:lnTo>
                <a:lnTo>
                  <a:pt x="45192" y="354329"/>
                </a:lnTo>
                <a:lnTo>
                  <a:pt x="64277" y="356869"/>
                </a:lnTo>
                <a:lnTo>
                  <a:pt x="83451" y="358139"/>
                </a:lnTo>
                <a:lnTo>
                  <a:pt x="102693" y="360679"/>
                </a:lnTo>
                <a:lnTo>
                  <a:pt x="236081" y="360679"/>
                </a:lnTo>
                <a:lnTo>
                  <a:pt x="217346" y="364489"/>
                </a:lnTo>
                <a:lnTo>
                  <a:pt x="178980" y="368299"/>
                </a:lnTo>
                <a:lnTo>
                  <a:pt x="136960" y="369569"/>
                </a:lnTo>
                <a:close/>
              </a:path>
              <a:path w="271145" h="369570">
                <a:moveTo>
                  <a:pt x="97463" y="207009"/>
                </a:moveTo>
                <a:lnTo>
                  <a:pt x="76472" y="207009"/>
                </a:lnTo>
                <a:lnTo>
                  <a:pt x="92612" y="200659"/>
                </a:lnTo>
                <a:lnTo>
                  <a:pt x="94830" y="196849"/>
                </a:lnTo>
                <a:lnTo>
                  <a:pt x="94821" y="180339"/>
                </a:lnTo>
                <a:lnTo>
                  <a:pt x="83414" y="168909"/>
                </a:lnTo>
                <a:lnTo>
                  <a:pt x="74912" y="156209"/>
                </a:lnTo>
                <a:lnTo>
                  <a:pt x="69598" y="140969"/>
                </a:lnTo>
                <a:lnTo>
                  <a:pt x="67755" y="125729"/>
                </a:lnTo>
                <a:lnTo>
                  <a:pt x="67759" y="123189"/>
                </a:lnTo>
                <a:lnTo>
                  <a:pt x="69435" y="121919"/>
                </a:lnTo>
                <a:lnTo>
                  <a:pt x="71675" y="121919"/>
                </a:lnTo>
                <a:lnTo>
                  <a:pt x="79398" y="120649"/>
                </a:lnTo>
                <a:lnTo>
                  <a:pt x="97321" y="115569"/>
                </a:lnTo>
                <a:lnTo>
                  <a:pt x="118726" y="106679"/>
                </a:lnTo>
                <a:lnTo>
                  <a:pt x="136897" y="93979"/>
                </a:lnTo>
                <a:lnTo>
                  <a:pt x="164373" y="93979"/>
                </a:lnTo>
                <a:lnTo>
                  <a:pt x="166350" y="95249"/>
                </a:lnTo>
                <a:lnTo>
                  <a:pt x="147846" y="95249"/>
                </a:lnTo>
                <a:lnTo>
                  <a:pt x="131918" y="110489"/>
                </a:lnTo>
                <a:lnTo>
                  <a:pt x="111398" y="120649"/>
                </a:lnTo>
                <a:lnTo>
                  <a:pt x="91376" y="126999"/>
                </a:lnTo>
                <a:lnTo>
                  <a:pt x="76942" y="129539"/>
                </a:lnTo>
                <a:lnTo>
                  <a:pt x="82374" y="151129"/>
                </a:lnTo>
                <a:lnTo>
                  <a:pt x="94687" y="167639"/>
                </a:lnTo>
                <a:lnTo>
                  <a:pt x="112297" y="180339"/>
                </a:lnTo>
                <a:lnTo>
                  <a:pt x="133622" y="184149"/>
                </a:lnTo>
                <a:lnTo>
                  <a:pt x="176163" y="184149"/>
                </a:lnTo>
                <a:lnTo>
                  <a:pt x="176163" y="185419"/>
                </a:lnTo>
                <a:lnTo>
                  <a:pt x="103864" y="185419"/>
                </a:lnTo>
                <a:lnTo>
                  <a:pt x="103868" y="199389"/>
                </a:lnTo>
                <a:lnTo>
                  <a:pt x="101528" y="204469"/>
                </a:lnTo>
                <a:lnTo>
                  <a:pt x="97463" y="207009"/>
                </a:lnTo>
                <a:close/>
              </a:path>
              <a:path w="271145" h="369570">
                <a:moveTo>
                  <a:pt x="205004" y="207009"/>
                </a:moveTo>
                <a:lnTo>
                  <a:pt x="194525" y="207009"/>
                </a:lnTo>
                <a:lnTo>
                  <a:pt x="201939" y="193039"/>
                </a:lnTo>
                <a:lnTo>
                  <a:pt x="210814" y="167639"/>
                </a:lnTo>
                <a:lnTo>
                  <a:pt x="214352" y="133349"/>
                </a:lnTo>
                <a:lnTo>
                  <a:pt x="205754" y="93979"/>
                </a:lnTo>
                <a:lnTo>
                  <a:pt x="215520" y="93979"/>
                </a:lnTo>
                <a:lnTo>
                  <a:pt x="223420" y="133349"/>
                </a:lnTo>
                <a:lnTo>
                  <a:pt x="220038" y="167639"/>
                </a:lnTo>
                <a:lnTo>
                  <a:pt x="211296" y="194309"/>
                </a:lnTo>
                <a:lnTo>
                  <a:pt x="205004" y="207009"/>
                </a:lnTo>
                <a:close/>
              </a:path>
              <a:path w="271145" h="369570">
                <a:moveTo>
                  <a:pt x="176163" y="184149"/>
                </a:moveTo>
                <a:lnTo>
                  <a:pt x="133622" y="184149"/>
                </a:lnTo>
                <a:lnTo>
                  <a:pt x="156618" y="180339"/>
                </a:lnTo>
                <a:lnTo>
                  <a:pt x="175685" y="168909"/>
                </a:lnTo>
                <a:lnTo>
                  <a:pt x="188873" y="151129"/>
                </a:lnTo>
                <a:lnTo>
                  <a:pt x="194231" y="128269"/>
                </a:lnTo>
                <a:lnTo>
                  <a:pt x="183269" y="118109"/>
                </a:lnTo>
                <a:lnTo>
                  <a:pt x="171870" y="110489"/>
                </a:lnTo>
                <a:lnTo>
                  <a:pt x="160055" y="102869"/>
                </a:lnTo>
                <a:lnTo>
                  <a:pt x="147846" y="95249"/>
                </a:lnTo>
                <a:lnTo>
                  <a:pt x="166350" y="95249"/>
                </a:lnTo>
                <a:lnTo>
                  <a:pt x="174255" y="100329"/>
                </a:lnTo>
                <a:lnTo>
                  <a:pt x="183807" y="107949"/>
                </a:lnTo>
                <a:lnTo>
                  <a:pt x="193011" y="114299"/>
                </a:lnTo>
                <a:lnTo>
                  <a:pt x="201851" y="123189"/>
                </a:lnTo>
                <a:lnTo>
                  <a:pt x="202755" y="123189"/>
                </a:lnTo>
                <a:lnTo>
                  <a:pt x="203265" y="124459"/>
                </a:lnTo>
                <a:lnTo>
                  <a:pt x="203265" y="125729"/>
                </a:lnTo>
                <a:lnTo>
                  <a:pt x="201419" y="140969"/>
                </a:lnTo>
                <a:lnTo>
                  <a:pt x="196098" y="156209"/>
                </a:lnTo>
                <a:lnTo>
                  <a:pt x="187585" y="168909"/>
                </a:lnTo>
                <a:lnTo>
                  <a:pt x="176163" y="180339"/>
                </a:lnTo>
                <a:lnTo>
                  <a:pt x="176163" y="184149"/>
                </a:lnTo>
                <a:close/>
              </a:path>
              <a:path w="271145" h="369570">
                <a:moveTo>
                  <a:pt x="135493" y="193039"/>
                </a:moveTo>
                <a:lnTo>
                  <a:pt x="119309" y="191769"/>
                </a:lnTo>
                <a:lnTo>
                  <a:pt x="103864" y="185419"/>
                </a:lnTo>
                <a:lnTo>
                  <a:pt x="167129" y="185419"/>
                </a:lnTo>
                <a:lnTo>
                  <a:pt x="151678" y="191769"/>
                </a:lnTo>
                <a:lnTo>
                  <a:pt x="135493" y="193039"/>
                </a:lnTo>
                <a:close/>
              </a:path>
              <a:path w="271145" h="369570">
                <a:moveTo>
                  <a:pt x="177874" y="220979"/>
                </a:moveTo>
                <a:lnTo>
                  <a:pt x="135539" y="220979"/>
                </a:lnTo>
                <a:lnTo>
                  <a:pt x="152888" y="219709"/>
                </a:lnTo>
                <a:lnTo>
                  <a:pt x="170011" y="215899"/>
                </a:lnTo>
                <a:lnTo>
                  <a:pt x="173584" y="208279"/>
                </a:lnTo>
                <a:lnTo>
                  <a:pt x="169482" y="204469"/>
                </a:lnTo>
                <a:lnTo>
                  <a:pt x="167120" y="199389"/>
                </a:lnTo>
                <a:lnTo>
                  <a:pt x="167129" y="185419"/>
                </a:lnTo>
                <a:lnTo>
                  <a:pt x="176163" y="185419"/>
                </a:lnTo>
                <a:lnTo>
                  <a:pt x="176145" y="198119"/>
                </a:lnTo>
                <a:lnTo>
                  <a:pt x="178363" y="200659"/>
                </a:lnTo>
                <a:lnTo>
                  <a:pt x="181764" y="201929"/>
                </a:lnTo>
                <a:lnTo>
                  <a:pt x="194525" y="207009"/>
                </a:lnTo>
                <a:lnTo>
                  <a:pt x="205004" y="207009"/>
                </a:lnTo>
                <a:lnTo>
                  <a:pt x="203116" y="210819"/>
                </a:lnTo>
                <a:lnTo>
                  <a:pt x="206669" y="212089"/>
                </a:lnTo>
                <a:lnTo>
                  <a:pt x="181606" y="212089"/>
                </a:lnTo>
                <a:lnTo>
                  <a:pt x="177874" y="220979"/>
                </a:lnTo>
                <a:close/>
              </a:path>
              <a:path w="271145" h="369570">
                <a:moveTo>
                  <a:pt x="131015" y="314959"/>
                </a:moveTo>
                <a:lnTo>
                  <a:pt x="121972" y="314959"/>
                </a:lnTo>
                <a:lnTo>
                  <a:pt x="121972" y="289559"/>
                </a:lnTo>
                <a:lnTo>
                  <a:pt x="89450" y="212089"/>
                </a:lnTo>
                <a:lnTo>
                  <a:pt x="99523" y="212089"/>
                </a:lnTo>
                <a:lnTo>
                  <a:pt x="101068" y="215899"/>
                </a:lnTo>
                <a:lnTo>
                  <a:pt x="118191" y="219709"/>
                </a:lnTo>
                <a:lnTo>
                  <a:pt x="135539" y="220979"/>
                </a:lnTo>
                <a:lnTo>
                  <a:pt x="177874" y="220979"/>
                </a:lnTo>
                <a:lnTo>
                  <a:pt x="175741" y="226059"/>
                </a:lnTo>
                <a:lnTo>
                  <a:pt x="105463" y="226059"/>
                </a:lnTo>
                <a:lnTo>
                  <a:pt x="131015" y="287019"/>
                </a:lnTo>
                <a:lnTo>
                  <a:pt x="131015" y="314959"/>
                </a:lnTo>
                <a:close/>
              </a:path>
              <a:path w="271145" h="369570">
                <a:moveTo>
                  <a:pt x="232766" y="314959"/>
                </a:moveTo>
                <a:lnTo>
                  <a:pt x="223736" y="314959"/>
                </a:lnTo>
                <a:lnTo>
                  <a:pt x="209589" y="223519"/>
                </a:lnTo>
                <a:lnTo>
                  <a:pt x="191354" y="215899"/>
                </a:lnTo>
                <a:lnTo>
                  <a:pt x="181606" y="212089"/>
                </a:lnTo>
                <a:lnTo>
                  <a:pt x="206669" y="212089"/>
                </a:lnTo>
                <a:lnTo>
                  <a:pt x="210221" y="213359"/>
                </a:lnTo>
                <a:lnTo>
                  <a:pt x="217096" y="215899"/>
                </a:lnTo>
                <a:lnTo>
                  <a:pt x="223081" y="219709"/>
                </a:lnTo>
                <a:lnTo>
                  <a:pt x="231747" y="223519"/>
                </a:lnTo>
                <a:lnTo>
                  <a:pt x="238021" y="227329"/>
                </a:lnTo>
                <a:lnTo>
                  <a:pt x="219336" y="227329"/>
                </a:lnTo>
                <a:lnTo>
                  <a:pt x="232766" y="314959"/>
                </a:lnTo>
                <a:close/>
              </a:path>
              <a:path w="271145" h="369570">
                <a:moveTo>
                  <a:pt x="135532" y="229869"/>
                </a:moveTo>
                <a:lnTo>
                  <a:pt x="120438" y="228599"/>
                </a:lnTo>
                <a:lnTo>
                  <a:pt x="105463" y="226059"/>
                </a:lnTo>
                <a:lnTo>
                  <a:pt x="165602" y="226059"/>
                </a:lnTo>
                <a:lnTo>
                  <a:pt x="150627" y="228599"/>
                </a:lnTo>
                <a:lnTo>
                  <a:pt x="135532" y="229869"/>
                </a:lnTo>
                <a:close/>
              </a:path>
              <a:path w="271145" h="369570">
                <a:moveTo>
                  <a:pt x="149083" y="360679"/>
                </a:moveTo>
                <a:lnTo>
                  <a:pt x="140049" y="360679"/>
                </a:lnTo>
                <a:lnTo>
                  <a:pt x="140049" y="287019"/>
                </a:lnTo>
                <a:lnTo>
                  <a:pt x="165602" y="226059"/>
                </a:lnTo>
                <a:lnTo>
                  <a:pt x="175741" y="226059"/>
                </a:lnTo>
                <a:lnTo>
                  <a:pt x="149083" y="289559"/>
                </a:lnTo>
                <a:lnTo>
                  <a:pt x="149083" y="314959"/>
                </a:lnTo>
                <a:lnTo>
                  <a:pt x="232766" y="314959"/>
                </a:lnTo>
                <a:lnTo>
                  <a:pt x="234323" y="325119"/>
                </a:lnTo>
                <a:lnTo>
                  <a:pt x="149083" y="325119"/>
                </a:lnTo>
                <a:lnTo>
                  <a:pt x="149083" y="360679"/>
                </a:lnTo>
                <a:close/>
              </a:path>
              <a:path w="271145" h="369570">
                <a:moveTo>
                  <a:pt x="45192" y="351789"/>
                </a:moveTo>
                <a:lnTo>
                  <a:pt x="36194" y="351789"/>
                </a:lnTo>
                <a:lnTo>
                  <a:pt x="36239" y="328929"/>
                </a:lnTo>
                <a:lnTo>
                  <a:pt x="52049" y="227329"/>
                </a:lnTo>
                <a:lnTo>
                  <a:pt x="61248" y="227329"/>
                </a:lnTo>
                <a:lnTo>
                  <a:pt x="47369" y="314959"/>
                </a:lnTo>
                <a:lnTo>
                  <a:pt x="131015" y="314959"/>
                </a:lnTo>
                <a:lnTo>
                  <a:pt x="131015" y="325119"/>
                </a:lnTo>
                <a:lnTo>
                  <a:pt x="45956" y="325119"/>
                </a:lnTo>
                <a:lnTo>
                  <a:pt x="45192" y="328929"/>
                </a:lnTo>
                <a:lnTo>
                  <a:pt x="45192" y="351789"/>
                </a:lnTo>
                <a:close/>
              </a:path>
              <a:path w="271145" h="369570">
                <a:moveTo>
                  <a:pt x="261447" y="351789"/>
                </a:moveTo>
                <a:lnTo>
                  <a:pt x="234907" y="351789"/>
                </a:lnTo>
                <a:lnTo>
                  <a:pt x="241946" y="350519"/>
                </a:lnTo>
                <a:lnTo>
                  <a:pt x="248821" y="347979"/>
                </a:lnTo>
                <a:lnTo>
                  <a:pt x="255498" y="345439"/>
                </a:lnTo>
                <a:lnTo>
                  <a:pt x="261945" y="342899"/>
                </a:lnTo>
                <a:lnTo>
                  <a:pt x="261945" y="270509"/>
                </a:lnTo>
                <a:lnTo>
                  <a:pt x="235269" y="236219"/>
                </a:lnTo>
                <a:lnTo>
                  <a:pt x="219336" y="227329"/>
                </a:lnTo>
                <a:lnTo>
                  <a:pt x="238021" y="227329"/>
                </a:lnTo>
                <a:lnTo>
                  <a:pt x="266671" y="253999"/>
                </a:lnTo>
                <a:lnTo>
                  <a:pt x="270979" y="270509"/>
                </a:lnTo>
                <a:lnTo>
                  <a:pt x="270979" y="346709"/>
                </a:lnTo>
                <a:lnTo>
                  <a:pt x="269173" y="347979"/>
                </a:lnTo>
                <a:lnTo>
                  <a:pt x="261447" y="351789"/>
                </a:lnTo>
                <a:close/>
              </a:path>
              <a:path w="271145" h="369570">
                <a:moveTo>
                  <a:pt x="131015" y="360679"/>
                </a:moveTo>
                <a:lnTo>
                  <a:pt x="121981" y="360679"/>
                </a:lnTo>
                <a:lnTo>
                  <a:pt x="121981" y="325119"/>
                </a:lnTo>
                <a:lnTo>
                  <a:pt x="131015" y="325119"/>
                </a:lnTo>
                <a:lnTo>
                  <a:pt x="131015" y="360679"/>
                </a:lnTo>
                <a:close/>
              </a:path>
              <a:path w="271145" h="369570">
                <a:moveTo>
                  <a:pt x="236081" y="360679"/>
                </a:moveTo>
                <a:lnTo>
                  <a:pt x="168369" y="360679"/>
                </a:lnTo>
                <a:lnTo>
                  <a:pt x="187610" y="359409"/>
                </a:lnTo>
                <a:lnTo>
                  <a:pt x="225873" y="354329"/>
                </a:lnTo>
                <a:lnTo>
                  <a:pt x="225873" y="328929"/>
                </a:lnTo>
                <a:lnTo>
                  <a:pt x="225123" y="325119"/>
                </a:lnTo>
                <a:lnTo>
                  <a:pt x="234323" y="325119"/>
                </a:lnTo>
                <a:lnTo>
                  <a:pt x="234907" y="328929"/>
                </a:lnTo>
                <a:lnTo>
                  <a:pt x="234907" y="351789"/>
                </a:lnTo>
                <a:lnTo>
                  <a:pt x="261447" y="351789"/>
                </a:lnTo>
                <a:lnTo>
                  <a:pt x="248572" y="358139"/>
                </a:lnTo>
                <a:lnTo>
                  <a:pt x="236081" y="36067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45" name="object 4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26" cstate="print"/>
          <a:stretch>
            <a:fillRect/>
          </a:stretch>
        </p:blipFill>
        <p:spPr>
          <a:xfrm>
            <a:off x="2628900" y="3752850"/>
            <a:ext cx="666750" cy="657225"/>
          </a:xfrm>
          <a:prstGeom prst="rect">
            <a:avLst/>
          </a:prstGeom>
        </p:spPr>
      </p:pic>
      <p:grpSp>
        <p:nvGrpSpPr>
          <p:cNvPr id="46" name="object 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716479" y="3877398"/>
            <a:ext cx="440055" cy="367665"/>
            <a:chOff x="2716479" y="3877398"/>
            <a:chExt cx="440055" cy="367665"/>
          </a:xfrm>
        </p:grpSpPr>
        <p:pic>
          <p:nvPicPr>
            <p:cNvPr id="47" name="object 47"/>
            <p:cNvPicPr/>
            <p:nvPr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09697" y="3948405"/>
              <a:ext cx="253449" cy="166577"/>
            </a:xfrm>
            <a:prstGeom prst="rect">
              <a:avLst/>
            </a:prstGeom>
          </p:spPr>
        </p:pic>
        <p:sp>
          <p:nvSpPr>
            <p:cNvPr id="48" name="object 48"/>
            <p:cNvSpPr/>
            <p:nvPr/>
          </p:nvSpPr>
          <p:spPr>
            <a:xfrm>
              <a:off x="2716479" y="3877398"/>
              <a:ext cx="440055" cy="367665"/>
            </a:xfrm>
            <a:custGeom>
              <a:avLst/>
              <a:gdLst/>
              <a:ahLst/>
              <a:cxnLst/>
              <a:rect l="l" t="t" r="r" b="b"/>
              <a:pathLst>
                <a:path w="440055" h="367664">
                  <a:moveTo>
                    <a:pt x="288493" y="119367"/>
                  </a:moveTo>
                  <a:lnTo>
                    <a:pt x="287629" y="108254"/>
                  </a:lnTo>
                  <a:lnTo>
                    <a:pt x="275678" y="112458"/>
                  </a:lnTo>
                  <a:lnTo>
                    <a:pt x="264058" y="117449"/>
                  </a:lnTo>
                  <a:lnTo>
                    <a:pt x="252793" y="123202"/>
                  </a:lnTo>
                  <a:lnTo>
                    <a:pt x="241947" y="129679"/>
                  </a:lnTo>
                  <a:lnTo>
                    <a:pt x="241947" y="142925"/>
                  </a:lnTo>
                  <a:lnTo>
                    <a:pt x="252869" y="135737"/>
                  </a:lnTo>
                  <a:lnTo>
                    <a:pt x="264312" y="129400"/>
                  </a:lnTo>
                  <a:lnTo>
                    <a:pt x="276199" y="123926"/>
                  </a:lnTo>
                  <a:lnTo>
                    <a:pt x="288493" y="119367"/>
                  </a:lnTo>
                  <a:close/>
                </a:path>
                <a:path w="440055" h="367664">
                  <a:moveTo>
                    <a:pt x="290728" y="147904"/>
                  </a:moveTo>
                  <a:lnTo>
                    <a:pt x="289864" y="136817"/>
                  </a:lnTo>
                  <a:lnTo>
                    <a:pt x="277317" y="141109"/>
                  </a:lnTo>
                  <a:lnTo>
                    <a:pt x="265112" y="146240"/>
                  </a:lnTo>
                  <a:lnTo>
                    <a:pt x="253314" y="152196"/>
                  </a:lnTo>
                  <a:lnTo>
                    <a:pt x="241947" y="158965"/>
                  </a:lnTo>
                  <a:lnTo>
                    <a:pt x="241947" y="172199"/>
                  </a:lnTo>
                  <a:lnTo>
                    <a:pt x="253377" y="164719"/>
                  </a:lnTo>
                  <a:lnTo>
                    <a:pt x="265353" y="158153"/>
                  </a:lnTo>
                  <a:lnTo>
                    <a:pt x="277825" y="152539"/>
                  </a:lnTo>
                  <a:lnTo>
                    <a:pt x="290728" y="147904"/>
                  </a:lnTo>
                  <a:close/>
                </a:path>
                <a:path w="440055" h="367664">
                  <a:moveTo>
                    <a:pt x="412432" y="27012"/>
                  </a:moveTo>
                  <a:lnTo>
                    <a:pt x="27495" y="27012"/>
                  </a:lnTo>
                  <a:lnTo>
                    <a:pt x="27495" y="38341"/>
                  </a:lnTo>
                  <a:lnTo>
                    <a:pt x="27495" y="264883"/>
                  </a:lnTo>
                  <a:lnTo>
                    <a:pt x="27495" y="274955"/>
                  </a:lnTo>
                  <a:lnTo>
                    <a:pt x="412432" y="274955"/>
                  </a:lnTo>
                  <a:lnTo>
                    <a:pt x="412432" y="264883"/>
                  </a:lnTo>
                  <a:lnTo>
                    <a:pt x="38493" y="264883"/>
                  </a:lnTo>
                  <a:lnTo>
                    <a:pt x="38493" y="38341"/>
                  </a:lnTo>
                  <a:lnTo>
                    <a:pt x="401434" y="38341"/>
                  </a:lnTo>
                  <a:lnTo>
                    <a:pt x="401434" y="264718"/>
                  </a:lnTo>
                  <a:lnTo>
                    <a:pt x="412432" y="264718"/>
                  </a:lnTo>
                  <a:lnTo>
                    <a:pt x="412432" y="38341"/>
                  </a:lnTo>
                  <a:lnTo>
                    <a:pt x="412432" y="37807"/>
                  </a:lnTo>
                  <a:lnTo>
                    <a:pt x="412432" y="27012"/>
                  </a:lnTo>
                  <a:close/>
                </a:path>
                <a:path w="440055" h="367664">
                  <a:moveTo>
                    <a:pt x="439928" y="21602"/>
                  </a:moveTo>
                  <a:lnTo>
                    <a:pt x="438188" y="13208"/>
                  </a:lnTo>
                  <a:lnTo>
                    <a:pt x="436537" y="10807"/>
                  </a:lnTo>
                  <a:lnTo>
                    <a:pt x="433476" y="6337"/>
                  </a:lnTo>
                  <a:lnTo>
                    <a:pt x="428929" y="3340"/>
                  </a:lnTo>
                  <a:lnTo>
                    <a:pt x="428929" y="15646"/>
                  </a:lnTo>
                  <a:lnTo>
                    <a:pt x="428929" y="286893"/>
                  </a:lnTo>
                  <a:lnTo>
                    <a:pt x="424002" y="291719"/>
                  </a:lnTo>
                  <a:lnTo>
                    <a:pt x="247446" y="291719"/>
                  </a:lnTo>
                  <a:lnTo>
                    <a:pt x="247446" y="302539"/>
                  </a:lnTo>
                  <a:lnTo>
                    <a:pt x="247446" y="356565"/>
                  </a:lnTo>
                  <a:lnTo>
                    <a:pt x="192455" y="356565"/>
                  </a:lnTo>
                  <a:lnTo>
                    <a:pt x="192455" y="302539"/>
                  </a:lnTo>
                  <a:lnTo>
                    <a:pt x="247446" y="302539"/>
                  </a:lnTo>
                  <a:lnTo>
                    <a:pt x="247446" y="291719"/>
                  </a:lnTo>
                  <a:lnTo>
                    <a:pt x="15913" y="291719"/>
                  </a:lnTo>
                  <a:lnTo>
                    <a:pt x="10998" y="286893"/>
                  </a:lnTo>
                  <a:lnTo>
                    <a:pt x="10998" y="15646"/>
                  </a:lnTo>
                  <a:lnTo>
                    <a:pt x="15913" y="10807"/>
                  </a:lnTo>
                  <a:lnTo>
                    <a:pt x="424002" y="10807"/>
                  </a:lnTo>
                  <a:lnTo>
                    <a:pt x="428929" y="15646"/>
                  </a:lnTo>
                  <a:lnTo>
                    <a:pt x="428929" y="3340"/>
                  </a:lnTo>
                  <a:lnTo>
                    <a:pt x="426491" y="1714"/>
                  </a:lnTo>
                  <a:lnTo>
                    <a:pt x="417931" y="0"/>
                  </a:lnTo>
                  <a:lnTo>
                    <a:pt x="21996" y="0"/>
                  </a:lnTo>
                  <a:lnTo>
                    <a:pt x="13436" y="1714"/>
                  </a:lnTo>
                  <a:lnTo>
                    <a:pt x="6451" y="6337"/>
                  </a:lnTo>
                  <a:lnTo>
                    <a:pt x="1739" y="13208"/>
                  </a:lnTo>
                  <a:lnTo>
                    <a:pt x="0" y="21602"/>
                  </a:lnTo>
                  <a:lnTo>
                    <a:pt x="0" y="280924"/>
                  </a:lnTo>
                  <a:lnTo>
                    <a:pt x="1739" y="289318"/>
                  </a:lnTo>
                  <a:lnTo>
                    <a:pt x="6451" y="296189"/>
                  </a:lnTo>
                  <a:lnTo>
                    <a:pt x="13436" y="300824"/>
                  </a:lnTo>
                  <a:lnTo>
                    <a:pt x="21996" y="302539"/>
                  </a:lnTo>
                  <a:lnTo>
                    <a:pt x="181457" y="302539"/>
                  </a:lnTo>
                  <a:lnTo>
                    <a:pt x="181457" y="356565"/>
                  </a:lnTo>
                  <a:lnTo>
                    <a:pt x="120980" y="356565"/>
                  </a:lnTo>
                  <a:lnTo>
                    <a:pt x="120980" y="367360"/>
                  </a:lnTo>
                  <a:lnTo>
                    <a:pt x="318947" y="367360"/>
                  </a:lnTo>
                  <a:lnTo>
                    <a:pt x="318947" y="356565"/>
                  </a:lnTo>
                  <a:lnTo>
                    <a:pt x="258445" y="356565"/>
                  </a:lnTo>
                  <a:lnTo>
                    <a:pt x="258445" y="302539"/>
                  </a:lnTo>
                  <a:lnTo>
                    <a:pt x="417931" y="302539"/>
                  </a:lnTo>
                  <a:lnTo>
                    <a:pt x="426491" y="300824"/>
                  </a:lnTo>
                  <a:lnTo>
                    <a:pt x="433476" y="296189"/>
                  </a:lnTo>
                  <a:lnTo>
                    <a:pt x="436537" y="291719"/>
                  </a:lnTo>
                  <a:lnTo>
                    <a:pt x="438188" y="289331"/>
                  </a:lnTo>
                  <a:lnTo>
                    <a:pt x="439928" y="280924"/>
                  </a:lnTo>
                  <a:lnTo>
                    <a:pt x="439928" y="2160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49" name="object 4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28" cstate="print"/>
          <a:stretch>
            <a:fillRect/>
          </a:stretch>
        </p:blipFill>
        <p:spPr>
          <a:xfrm>
            <a:off x="7439025" y="3752850"/>
            <a:ext cx="666750" cy="657225"/>
          </a:xfrm>
          <a:prstGeom prst="rect">
            <a:avLst/>
          </a:prstGeom>
        </p:spPr>
      </p:pic>
      <p:grpSp>
        <p:nvGrpSpPr>
          <p:cNvPr id="50" name="object 5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576111" y="3882765"/>
            <a:ext cx="346710" cy="351155"/>
            <a:chOff x="7576111" y="3882765"/>
            <a:chExt cx="346710" cy="351155"/>
          </a:xfrm>
        </p:grpSpPr>
        <p:pic>
          <p:nvPicPr>
            <p:cNvPr id="51" name="object 51"/>
            <p:cNvPicPr/>
            <p:nvPr/>
          </p:nvPicPr>
          <p:blipFill>
            <a:blip r:embed="rId2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59119" y="3941686"/>
              <a:ext cx="208878" cy="233354"/>
            </a:xfrm>
            <a:prstGeom prst="rect">
              <a:avLst/>
            </a:prstGeom>
          </p:spPr>
        </p:pic>
        <p:sp>
          <p:nvSpPr>
            <p:cNvPr id="52" name="object 52"/>
            <p:cNvSpPr/>
            <p:nvPr/>
          </p:nvSpPr>
          <p:spPr>
            <a:xfrm>
              <a:off x="7576111" y="3882765"/>
              <a:ext cx="346710" cy="351155"/>
            </a:xfrm>
            <a:custGeom>
              <a:avLst/>
              <a:gdLst/>
              <a:ahLst/>
              <a:cxnLst/>
              <a:rect l="l" t="t" r="r" b="b"/>
              <a:pathLst>
                <a:path w="346709" h="351154">
                  <a:moveTo>
                    <a:pt x="19526" y="59411"/>
                  </a:moveTo>
                  <a:lnTo>
                    <a:pt x="5757" y="59405"/>
                  </a:lnTo>
                  <a:lnTo>
                    <a:pt x="0" y="53750"/>
                  </a:lnTo>
                  <a:lnTo>
                    <a:pt x="5" y="38341"/>
                  </a:lnTo>
                  <a:lnTo>
                    <a:pt x="6032" y="32416"/>
                  </a:lnTo>
                  <a:lnTo>
                    <a:pt x="27489" y="32406"/>
                  </a:lnTo>
                  <a:lnTo>
                    <a:pt x="27489" y="2419"/>
                  </a:lnTo>
                  <a:lnTo>
                    <a:pt x="29952" y="0"/>
                  </a:lnTo>
                  <a:lnTo>
                    <a:pt x="343965" y="0"/>
                  </a:lnTo>
                  <a:lnTo>
                    <a:pt x="346429" y="2419"/>
                  </a:lnTo>
                  <a:lnTo>
                    <a:pt x="346429" y="10802"/>
                  </a:lnTo>
                  <a:lnTo>
                    <a:pt x="38487" y="10802"/>
                  </a:lnTo>
                  <a:lnTo>
                    <a:pt x="38487" y="43208"/>
                  </a:lnTo>
                  <a:lnTo>
                    <a:pt x="12108" y="43208"/>
                  </a:lnTo>
                  <a:lnTo>
                    <a:pt x="10992" y="44304"/>
                  </a:lnTo>
                  <a:lnTo>
                    <a:pt x="10992" y="47788"/>
                  </a:lnTo>
                  <a:lnTo>
                    <a:pt x="11828" y="48609"/>
                  </a:lnTo>
                  <a:lnTo>
                    <a:pt x="19526" y="48609"/>
                  </a:lnTo>
                  <a:lnTo>
                    <a:pt x="21990" y="51028"/>
                  </a:lnTo>
                  <a:lnTo>
                    <a:pt x="21990" y="56991"/>
                  </a:lnTo>
                  <a:lnTo>
                    <a:pt x="19526" y="59411"/>
                  </a:lnTo>
                  <a:close/>
                </a:path>
                <a:path w="346709" h="351154">
                  <a:moveTo>
                    <a:pt x="346429" y="340263"/>
                  </a:moveTo>
                  <a:lnTo>
                    <a:pt x="335431" y="340263"/>
                  </a:lnTo>
                  <a:lnTo>
                    <a:pt x="335431" y="10802"/>
                  </a:lnTo>
                  <a:lnTo>
                    <a:pt x="346429" y="10802"/>
                  </a:lnTo>
                  <a:lnTo>
                    <a:pt x="346429" y="340263"/>
                  </a:lnTo>
                  <a:close/>
                </a:path>
                <a:path w="346709" h="351154">
                  <a:moveTo>
                    <a:pt x="19526" y="113421"/>
                  </a:moveTo>
                  <a:lnTo>
                    <a:pt x="5757" y="113415"/>
                  </a:lnTo>
                  <a:lnTo>
                    <a:pt x="0" y="107760"/>
                  </a:lnTo>
                  <a:lnTo>
                    <a:pt x="5" y="92351"/>
                  </a:lnTo>
                  <a:lnTo>
                    <a:pt x="6032" y="86426"/>
                  </a:lnTo>
                  <a:lnTo>
                    <a:pt x="27489" y="86416"/>
                  </a:lnTo>
                  <a:lnTo>
                    <a:pt x="27489" y="43208"/>
                  </a:lnTo>
                  <a:lnTo>
                    <a:pt x="38487" y="43208"/>
                  </a:lnTo>
                  <a:lnTo>
                    <a:pt x="38487" y="97218"/>
                  </a:lnTo>
                  <a:lnTo>
                    <a:pt x="12108" y="97218"/>
                  </a:lnTo>
                  <a:lnTo>
                    <a:pt x="10992" y="98314"/>
                  </a:lnTo>
                  <a:lnTo>
                    <a:pt x="10992" y="101798"/>
                  </a:lnTo>
                  <a:lnTo>
                    <a:pt x="11828" y="102619"/>
                  </a:lnTo>
                  <a:lnTo>
                    <a:pt x="19526" y="102619"/>
                  </a:lnTo>
                  <a:lnTo>
                    <a:pt x="21990" y="105038"/>
                  </a:lnTo>
                  <a:lnTo>
                    <a:pt x="21990" y="111001"/>
                  </a:lnTo>
                  <a:lnTo>
                    <a:pt x="19526" y="113421"/>
                  </a:lnTo>
                  <a:close/>
                </a:path>
                <a:path w="346709" h="351154">
                  <a:moveTo>
                    <a:pt x="19526" y="167431"/>
                  </a:moveTo>
                  <a:lnTo>
                    <a:pt x="5757" y="167425"/>
                  </a:lnTo>
                  <a:lnTo>
                    <a:pt x="0" y="161770"/>
                  </a:lnTo>
                  <a:lnTo>
                    <a:pt x="5" y="146361"/>
                  </a:lnTo>
                  <a:lnTo>
                    <a:pt x="6032" y="140436"/>
                  </a:lnTo>
                  <a:lnTo>
                    <a:pt x="27489" y="140426"/>
                  </a:lnTo>
                  <a:lnTo>
                    <a:pt x="27489" y="97218"/>
                  </a:lnTo>
                  <a:lnTo>
                    <a:pt x="38487" y="97218"/>
                  </a:lnTo>
                  <a:lnTo>
                    <a:pt x="38487" y="151228"/>
                  </a:lnTo>
                  <a:lnTo>
                    <a:pt x="12108" y="151228"/>
                  </a:lnTo>
                  <a:lnTo>
                    <a:pt x="10992" y="152324"/>
                  </a:lnTo>
                  <a:lnTo>
                    <a:pt x="10992" y="155808"/>
                  </a:lnTo>
                  <a:lnTo>
                    <a:pt x="11828" y="156629"/>
                  </a:lnTo>
                  <a:lnTo>
                    <a:pt x="19526" y="156629"/>
                  </a:lnTo>
                  <a:lnTo>
                    <a:pt x="21990" y="159048"/>
                  </a:lnTo>
                  <a:lnTo>
                    <a:pt x="21990" y="165011"/>
                  </a:lnTo>
                  <a:lnTo>
                    <a:pt x="19526" y="167431"/>
                  </a:lnTo>
                  <a:close/>
                </a:path>
                <a:path w="346709" h="351154">
                  <a:moveTo>
                    <a:pt x="19526" y="221441"/>
                  </a:moveTo>
                  <a:lnTo>
                    <a:pt x="5757" y="221435"/>
                  </a:lnTo>
                  <a:lnTo>
                    <a:pt x="0" y="215781"/>
                  </a:lnTo>
                  <a:lnTo>
                    <a:pt x="5" y="200371"/>
                  </a:lnTo>
                  <a:lnTo>
                    <a:pt x="6032" y="194447"/>
                  </a:lnTo>
                  <a:lnTo>
                    <a:pt x="27489" y="194436"/>
                  </a:lnTo>
                  <a:lnTo>
                    <a:pt x="27489" y="151228"/>
                  </a:lnTo>
                  <a:lnTo>
                    <a:pt x="38487" y="151228"/>
                  </a:lnTo>
                  <a:lnTo>
                    <a:pt x="38487" y="205238"/>
                  </a:lnTo>
                  <a:lnTo>
                    <a:pt x="12108" y="205238"/>
                  </a:lnTo>
                  <a:lnTo>
                    <a:pt x="10992" y="206334"/>
                  </a:lnTo>
                  <a:lnTo>
                    <a:pt x="10992" y="209818"/>
                  </a:lnTo>
                  <a:lnTo>
                    <a:pt x="11828" y="210639"/>
                  </a:lnTo>
                  <a:lnTo>
                    <a:pt x="19526" y="210639"/>
                  </a:lnTo>
                  <a:lnTo>
                    <a:pt x="21990" y="213058"/>
                  </a:lnTo>
                  <a:lnTo>
                    <a:pt x="21990" y="219021"/>
                  </a:lnTo>
                  <a:lnTo>
                    <a:pt x="19526" y="221441"/>
                  </a:lnTo>
                  <a:close/>
                </a:path>
                <a:path w="346709" h="351154">
                  <a:moveTo>
                    <a:pt x="19526" y="275451"/>
                  </a:moveTo>
                  <a:lnTo>
                    <a:pt x="5757" y="275445"/>
                  </a:lnTo>
                  <a:lnTo>
                    <a:pt x="0" y="269791"/>
                  </a:lnTo>
                  <a:lnTo>
                    <a:pt x="5" y="254381"/>
                  </a:lnTo>
                  <a:lnTo>
                    <a:pt x="6032" y="248457"/>
                  </a:lnTo>
                  <a:lnTo>
                    <a:pt x="27489" y="248446"/>
                  </a:lnTo>
                  <a:lnTo>
                    <a:pt x="27489" y="205238"/>
                  </a:lnTo>
                  <a:lnTo>
                    <a:pt x="38487" y="205238"/>
                  </a:lnTo>
                  <a:lnTo>
                    <a:pt x="38487" y="259248"/>
                  </a:lnTo>
                  <a:lnTo>
                    <a:pt x="12108" y="259253"/>
                  </a:lnTo>
                  <a:lnTo>
                    <a:pt x="10992" y="260344"/>
                  </a:lnTo>
                  <a:lnTo>
                    <a:pt x="10992" y="263828"/>
                  </a:lnTo>
                  <a:lnTo>
                    <a:pt x="11828" y="264649"/>
                  </a:lnTo>
                  <a:lnTo>
                    <a:pt x="19526" y="264649"/>
                  </a:lnTo>
                  <a:lnTo>
                    <a:pt x="21990" y="267068"/>
                  </a:lnTo>
                  <a:lnTo>
                    <a:pt x="21990" y="273031"/>
                  </a:lnTo>
                  <a:lnTo>
                    <a:pt x="19526" y="275451"/>
                  </a:lnTo>
                  <a:close/>
                </a:path>
                <a:path w="346709" h="351154">
                  <a:moveTo>
                    <a:pt x="19526" y="329461"/>
                  </a:moveTo>
                  <a:lnTo>
                    <a:pt x="5757" y="329455"/>
                  </a:lnTo>
                  <a:lnTo>
                    <a:pt x="0" y="323801"/>
                  </a:lnTo>
                  <a:lnTo>
                    <a:pt x="5" y="308392"/>
                  </a:lnTo>
                  <a:lnTo>
                    <a:pt x="6032" y="302467"/>
                  </a:lnTo>
                  <a:lnTo>
                    <a:pt x="27489" y="302456"/>
                  </a:lnTo>
                  <a:lnTo>
                    <a:pt x="27489" y="259248"/>
                  </a:lnTo>
                  <a:lnTo>
                    <a:pt x="38487" y="259248"/>
                  </a:lnTo>
                  <a:lnTo>
                    <a:pt x="38487" y="313258"/>
                  </a:lnTo>
                  <a:lnTo>
                    <a:pt x="12108" y="313263"/>
                  </a:lnTo>
                  <a:lnTo>
                    <a:pt x="10992" y="314354"/>
                  </a:lnTo>
                  <a:lnTo>
                    <a:pt x="10992" y="317838"/>
                  </a:lnTo>
                  <a:lnTo>
                    <a:pt x="11828" y="318659"/>
                  </a:lnTo>
                  <a:lnTo>
                    <a:pt x="19526" y="318659"/>
                  </a:lnTo>
                  <a:lnTo>
                    <a:pt x="21990" y="321079"/>
                  </a:lnTo>
                  <a:lnTo>
                    <a:pt x="21990" y="327041"/>
                  </a:lnTo>
                  <a:lnTo>
                    <a:pt x="19526" y="329461"/>
                  </a:lnTo>
                  <a:close/>
                </a:path>
                <a:path w="346709" h="351154">
                  <a:moveTo>
                    <a:pt x="343965" y="351065"/>
                  </a:moveTo>
                  <a:lnTo>
                    <a:pt x="29952" y="351065"/>
                  </a:lnTo>
                  <a:lnTo>
                    <a:pt x="27489" y="348645"/>
                  </a:lnTo>
                  <a:lnTo>
                    <a:pt x="27489" y="313258"/>
                  </a:lnTo>
                  <a:lnTo>
                    <a:pt x="38487" y="313258"/>
                  </a:lnTo>
                  <a:lnTo>
                    <a:pt x="38487" y="340263"/>
                  </a:lnTo>
                  <a:lnTo>
                    <a:pt x="346429" y="340263"/>
                  </a:lnTo>
                  <a:lnTo>
                    <a:pt x="346429" y="348645"/>
                  </a:lnTo>
                  <a:lnTo>
                    <a:pt x="343965" y="351065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4" name="object 5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668000" y="4476750"/>
            <a:ext cx="1524000" cy="1628775"/>
            <a:chOff x="10668000" y="4476750"/>
            <a:chExt cx="1524000" cy="1628775"/>
          </a:xfrm>
        </p:grpSpPr>
        <p:pic>
          <p:nvPicPr>
            <p:cNvPr id="55" name="object 55"/>
            <p:cNvPicPr/>
            <p:nvPr/>
          </p:nvPicPr>
          <p:blipFill>
            <a:blip r:embed="rId30" cstate="print"/>
            <a:stretch>
              <a:fillRect/>
            </a:stretch>
          </p:blipFill>
          <p:spPr>
            <a:xfrm>
              <a:off x="10668000" y="4476750"/>
              <a:ext cx="1524000" cy="1628775"/>
            </a:xfrm>
            <a:prstGeom prst="rect">
              <a:avLst/>
            </a:prstGeom>
          </p:spPr>
        </p:pic>
        <p:sp>
          <p:nvSpPr>
            <p:cNvPr id="56" name="object 56"/>
            <p:cNvSpPr/>
            <p:nvPr/>
          </p:nvSpPr>
          <p:spPr>
            <a:xfrm>
              <a:off x="10763250" y="4572000"/>
              <a:ext cx="1428750" cy="1438275"/>
            </a:xfrm>
            <a:custGeom>
              <a:avLst/>
              <a:gdLst/>
              <a:ahLst/>
              <a:cxnLst/>
              <a:rect l="l" t="t" r="r" b="b"/>
              <a:pathLst>
                <a:path w="1428750" h="1438275">
                  <a:moveTo>
                    <a:pt x="728662" y="0"/>
                  </a:moveTo>
                  <a:lnTo>
                    <a:pt x="680753" y="1529"/>
                  </a:lnTo>
                  <a:lnTo>
                    <a:pt x="633671" y="6055"/>
                  </a:lnTo>
                  <a:lnTo>
                    <a:pt x="587512" y="13482"/>
                  </a:lnTo>
                  <a:lnTo>
                    <a:pt x="542373" y="23716"/>
                  </a:lnTo>
                  <a:lnTo>
                    <a:pt x="498350" y="36662"/>
                  </a:lnTo>
                  <a:lnTo>
                    <a:pt x="455538" y="52225"/>
                  </a:lnTo>
                  <a:lnTo>
                    <a:pt x="414033" y="70310"/>
                  </a:lnTo>
                  <a:lnTo>
                    <a:pt x="373932" y="90823"/>
                  </a:lnTo>
                  <a:lnTo>
                    <a:pt x="335331" y="113668"/>
                  </a:lnTo>
                  <a:lnTo>
                    <a:pt x="298325" y="138752"/>
                  </a:lnTo>
                  <a:lnTo>
                    <a:pt x="263011" y="165979"/>
                  </a:lnTo>
                  <a:lnTo>
                    <a:pt x="229484" y="195254"/>
                  </a:lnTo>
                  <a:lnTo>
                    <a:pt x="197841" y="226484"/>
                  </a:lnTo>
                  <a:lnTo>
                    <a:pt x="168178" y="259572"/>
                  </a:lnTo>
                  <a:lnTo>
                    <a:pt x="140590" y="294424"/>
                  </a:lnTo>
                  <a:lnTo>
                    <a:pt x="115174" y="330946"/>
                  </a:lnTo>
                  <a:lnTo>
                    <a:pt x="92026" y="369043"/>
                  </a:lnTo>
                  <a:lnTo>
                    <a:pt x="71241" y="408620"/>
                  </a:lnTo>
                  <a:lnTo>
                    <a:pt x="52917" y="449582"/>
                  </a:lnTo>
                  <a:lnTo>
                    <a:pt x="37148" y="491835"/>
                  </a:lnTo>
                  <a:lnTo>
                    <a:pt x="24030" y="535283"/>
                  </a:lnTo>
                  <a:lnTo>
                    <a:pt x="13661" y="579832"/>
                  </a:lnTo>
                  <a:lnTo>
                    <a:pt x="6135" y="625387"/>
                  </a:lnTo>
                  <a:lnTo>
                    <a:pt x="1549" y="671854"/>
                  </a:lnTo>
                  <a:lnTo>
                    <a:pt x="0" y="719137"/>
                  </a:lnTo>
                  <a:lnTo>
                    <a:pt x="1549" y="766420"/>
                  </a:lnTo>
                  <a:lnTo>
                    <a:pt x="6135" y="812887"/>
                  </a:lnTo>
                  <a:lnTo>
                    <a:pt x="13661" y="858442"/>
                  </a:lnTo>
                  <a:lnTo>
                    <a:pt x="24030" y="902991"/>
                  </a:lnTo>
                  <a:lnTo>
                    <a:pt x="37148" y="946439"/>
                  </a:lnTo>
                  <a:lnTo>
                    <a:pt x="52917" y="988692"/>
                  </a:lnTo>
                  <a:lnTo>
                    <a:pt x="71241" y="1029654"/>
                  </a:lnTo>
                  <a:lnTo>
                    <a:pt x="92026" y="1069231"/>
                  </a:lnTo>
                  <a:lnTo>
                    <a:pt x="115174" y="1107328"/>
                  </a:lnTo>
                  <a:lnTo>
                    <a:pt x="140590" y="1143850"/>
                  </a:lnTo>
                  <a:lnTo>
                    <a:pt x="168178" y="1178702"/>
                  </a:lnTo>
                  <a:lnTo>
                    <a:pt x="197841" y="1211790"/>
                  </a:lnTo>
                  <a:lnTo>
                    <a:pt x="229484" y="1243020"/>
                  </a:lnTo>
                  <a:lnTo>
                    <a:pt x="263011" y="1272295"/>
                  </a:lnTo>
                  <a:lnTo>
                    <a:pt x="298325" y="1299522"/>
                  </a:lnTo>
                  <a:lnTo>
                    <a:pt x="335331" y="1324606"/>
                  </a:lnTo>
                  <a:lnTo>
                    <a:pt x="373932" y="1347451"/>
                  </a:lnTo>
                  <a:lnTo>
                    <a:pt x="414033" y="1367964"/>
                  </a:lnTo>
                  <a:lnTo>
                    <a:pt x="455538" y="1386049"/>
                  </a:lnTo>
                  <a:lnTo>
                    <a:pt x="498350" y="1401612"/>
                  </a:lnTo>
                  <a:lnTo>
                    <a:pt x="542373" y="1414558"/>
                  </a:lnTo>
                  <a:lnTo>
                    <a:pt x="587512" y="1424792"/>
                  </a:lnTo>
                  <a:lnTo>
                    <a:pt x="633671" y="1432219"/>
                  </a:lnTo>
                  <a:lnTo>
                    <a:pt x="680753" y="1436745"/>
                  </a:lnTo>
                  <a:lnTo>
                    <a:pt x="728662" y="1438275"/>
                  </a:lnTo>
                  <a:lnTo>
                    <a:pt x="776571" y="1436745"/>
                  </a:lnTo>
                  <a:lnTo>
                    <a:pt x="823653" y="1432219"/>
                  </a:lnTo>
                  <a:lnTo>
                    <a:pt x="869812" y="1424792"/>
                  </a:lnTo>
                  <a:lnTo>
                    <a:pt x="914951" y="1414558"/>
                  </a:lnTo>
                  <a:lnTo>
                    <a:pt x="958974" y="1401612"/>
                  </a:lnTo>
                  <a:lnTo>
                    <a:pt x="1001786" y="1386049"/>
                  </a:lnTo>
                  <a:lnTo>
                    <a:pt x="1043291" y="1367964"/>
                  </a:lnTo>
                  <a:lnTo>
                    <a:pt x="1083392" y="1347451"/>
                  </a:lnTo>
                  <a:lnTo>
                    <a:pt x="1121993" y="1324606"/>
                  </a:lnTo>
                  <a:lnTo>
                    <a:pt x="1158999" y="1299522"/>
                  </a:lnTo>
                  <a:lnTo>
                    <a:pt x="1194313" y="1272295"/>
                  </a:lnTo>
                  <a:lnTo>
                    <a:pt x="1227840" y="1243020"/>
                  </a:lnTo>
                  <a:lnTo>
                    <a:pt x="1259483" y="1211790"/>
                  </a:lnTo>
                  <a:lnTo>
                    <a:pt x="1289146" y="1178702"/>
                  </a:lnTo>
                  <a:lnTo>
                    <a:pt x="1316734" y="1143850"/>
                  </a:lnTo>
                  <a:lnTo>
                    <a:pt x="1342150" y="1107328"/>
                  </a:lnTo>
                  <a:lnTo>
                    <a:pt x="1365298" y="1069231"/>
                  </a:lnTo>
                  <a:lnTo>
                    <a:pt x="1386083" y="1029654"/>
                  </a:lnTo>
                  <a:lnTo>
                    <a:pt x="1404407" y="988692"/>
                  </a:lnTo>
                  <a:lnTo>
                    <a:pt x="1420176" y="946439"/>
                  </a:lnTo>
                  <a:lnTo>
                    <a:pt x="1428750" y="918043"/>
                  </a:lnTo>
                  <a:lnTo>
                    <a:pt x="1428750" y="520231"/>
                  </a:lnTo>
                  <a:lnTo>
                    <a:pt x="1404407" y="449582"/>
                  </a:lnTo>
                  <a:lnTo>
                    <a:pt x="1386083" y="408620"/>
                  </a:lnTo>
                  <a:lnTo>
                    <a:pt x="1365298" y="369043"/>
                  </a:lnTo>
                  <a:lnTo>
                    <a:pt x="1342150" y="330946"/>
                  </a:lnTo>
                  <a:lnTo>
                    <a:pt x="1316734" y="294424"/>
                  </a:lnTo>
                  <a:lnTo>
                    <a:pt x="1289146" y="259572"/>
                  </a:lnTo>
                  <a:lnTo>
                    <a:pt x="1259483" y="226484"/>
                  </a:lnTo>
                  <a:lnTo>
                    <a:pt x="1227840" y="195254"/>
                  </a:lnTo>
                  <a:lnTo>
                    <a:pt x="1194313" y="165979"/>
                  </a:lnTo>
                  <a:lnTo>
                    <a:pt x="1158999" y="138752"/>
                  </a:lnTo>
                  <a:lnTo>
                    <a:pt x="1121993" y="113668"/>
                  </a:lnTo>
                  <a:lnTo>
                    <a:pt x="1083392" y="90823"/>
                  </a:lnTo>
                  <a:lnTo>
                    <a:pt x="1043291" y="70310"/>
                  </a:lnTo>
                  <a:lnTo>
                    <a:pt x="1001786" y="52225"/>
                  </a:lnTo>
                  <a:lnTo>
                    <a:pt x="958974" y="36662"/>
                  </a:lnTo>
                  <a:lnTo>
                    <a:pt x="914951" y="23716"/>
                  </a:lnTo>
                  <a:lnTo>
                    <a:pt x="869812" y="13482"/>
                  </a:lnTo>
                  <a:lnTo>
                    <a:pt x="823653" y="6055"/>
                  </a:lnTo>
                  <a:lnTo>
                    <a:pt x="776571" y="1529"/>
                  </a:lnTo>
                  <a:lnTo>
                    <a:pt x="72866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3" name="object 53"/>
          <p:cNvSpPr txBox="1"/>
          <p:nvPr/>
        </p:nvSpPr>
        <p:spPr>
          <a:xfrm>
            <a:off x="11150697" y="892168"/>
            <a:ext cx="990153" cy="612988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88900" marR="5080" lvl="0" indent="-76200" defTabSz="914400" eaLnBrk="1" fontAlgn="auto" latinLnBrk="0" hangingPunct="1">
              <a:lnSpc>
                <a:spcPts val="2180"/>
              </a:lnSpc>
              <a:spcBef>
                <a:spcPts val="3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i="0" u="none" strike="noStrike" kern="0" cap="none" spc="140" normalizeH="0" baseline="0" noProof="0" dirty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</a:t>
            </a:r>
            <a:r>
              <a:rPr kumimoji="0" sz="2000" i="0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sz="2000" i="0" u="none" strike="noStrike" kern="0" cap="none" spc="55" normalizeH="0" baseline="0" noProof="0" dirty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</a:t>
            </a:r>
            <a:r>
              <a:rPr kumimoji="0" sz="200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EWS</a:t>
            </a:r>
            <a:endParaRPr kumimoji="0" sz="20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10618437" y="1950831"/>
            <a:ext cx="1110615" cy="993775"/>
          </a:xfrm>
          <a:prstGeom prst="rect">
            <a:avLst/>
          </a:prstGeom>
        </p:spPr>
        <p:txBody>
          <a:bodyPr vert="horz" wrap="square" lIns="0" tIns="22225" rIns="0" bIns="0" rtlCol="0">
            <a:spAutoFit/>
          </a:bodyPr>
          <a:lstStyle/>
          <a:p>
            <a:pPr marL="97790" marR="7620" lvl="0" indent="-85725" defTabSz="914400" eaLnBrk="1" fontAlgn="auto" latinLnBrk="0" hangingPunct="1">
              <a:lnSpc>
                <a:spcPct val="95400"/>
              </a:lnSpc>
              <a:spcBef>
                <a:spcPts val="1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"We're</a:t>
            </a:r>
            <a:r>
              <a:rPr kumimoji="0" sz="950" b="0" i="1" u="none" strike="noStrike" kern="0" cap="none" spc="1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o</a:t>
            </a:r>
            <a:r>
              <a:rPr kumimoji="0" sz="950" b="0" i="1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ankful</a:t>
            </a:r>
            <a:r>
              <a:rPr kumimoji="0" sz="950" b="0" i="1" u="none" strike="noStrike" kern="0" cap="none" spc="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be</a:t>
            </a:r>
            <a:r>
              <a:rPr kumimoji="0" sz="950" b="0" i="1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able</a:t>
            </a:r>
            <a:r>
              <a:rPr kumimoji="0" sz="950" b="0" i="1" u="none" strike="noStrike" kern="0" cap="none" spc="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receive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is</a:t>
            </a:r>
            <a:r>
              <a:rPr kumimoji="0" sz="950" b="0" i="1" u="none" strike="noStrike" kern="0" cap="none" spc="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funding,"</a:t>
            </a:r>
            <a:r>
              <a:rPr kumimoji="0" sz="950" b="0" i="1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aid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2700" marR="5080" lvl="0" indent="9525" defTabSz="914400" eaLnBrk="1" fontAlgn="auto" latinLnBrk="0" hangingPunct="1">
              <a:lnSpc>
                <a:spcPts val="105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uperintendent</a:t>
            </a:r>
            <a:r>
              <a:rPr kumimoji="0" sz="950" b="0" i="1" u="none" strike="noStrike" kern="0" cap="none" spc="1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Brian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Troop,</a:t>
            </a:r>
            <a:r>
              <a:rPr kumimoji="0" sz="950" b="0" i="1" u="none" strike="noStrike" kern="0" cap="none" spc="1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of</a:t>
            </a:r>
            <a:r>
              <a:rPr kumimoji="0" sz="950" b="0" i="1" u="none" strike="noStrike" kern="0" cap="none" spc="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e</a:t>
            </a:r>
            <a:r>
              <a:rPr kumimoji="0" sz="950" b="0" i="1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Ephrata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41275" marR="20955" lvl="0" indent="28575" defTabSz="914400" eaLnBrk="1" fontAlgn="auto" latinLnBrk="0" hangingPunct="1">
              <a:lnSpc>
                <a:spcPts val="105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Area</a:t>
            </a:r>
            <a:r>
              <a:rPr kumimoji="0" sz="950" b="0" i="1" u="none" strike="noStrike" kern="0" cap="none" spc="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chool</a:t>
            </a:r>
            <a:r>
              <a:rPr kumimoji="0" sz="950" b="0" i="1" u="none" strike="noStrike" kern="0" cap="none" spc="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District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in</a:t>
            </a:r>
            <a:r>
              <a:rPr kumimoji="0" sz="950" b="0" i="1" u="none" strike="noStrike" kern="0" cap="none" spc="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Lancaster</a:t>
            </a:r>
            <a:r>
              <a:rPr kumimoji="0" sz="950" b="0" i="1" u="none" strike="noStrike" kern="0" cap="none" spc="1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County.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9471900" y="2574086"/>
            <a:ext cx="984885" cy="1016176"/>
          </a:xfrm>
          <a:prstGeom prst="rect">
            <a:avLst/>
          </a:prstGeom>
        </p:spPr>
        <p:txBody>
          <a:bodyPr vert="horz" wrap="square" lIns="0" tIns="22225" rIns="0" bIns="0" rtlCol="0" anchor="t">
            <a:spAutoFit/>
          </a:bodyPr>
          <a:lstStyle/>
          <a:p>
            <a:pPr marL="12700" marR="5080" lvl="0" indent="57150" defTabSz="914400" eaLnBrk="1" fontAlgn="auto" latinLnBrk="0" hangingPunct="1">
              <a:lnSpc>
                <a:spcPct val="95400"/>
              </a:lnSpc>
              <a:spcBef>
                <a:spcPts val="1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“The</a:t>
            </a:r>
            <a:r>
              <a:rPr kumimoji="0" sz="950" b="0" i="1" u="none" strike="noStrike" kern="0" cap="none" spc="114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funds</a:t>
            </a:r>
            <a:r>
              <a:rPr kumimoji="0" sz="950" b="0" i="1" u="none" strike="noStrike" kern="0" cap="none" spc="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really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have</a:t>
            </a:r>
            <a:r>
              <a:rPr kumimoji="0" sz="950" b="0" i="1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be</a:t>
            </a:r>
            <a:r>
              <a:rPr kumimoji="0" sz="950" b="0" i="1" u="none" strike="noStrike" kern="0" cap="none" spc="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used</a:t>
            </a:r>
            <a:r>
              <a:rPr kumimoji="0" sz="950" b="0" i="1" u="none" strike="noStrike" kern="0" cap="none" spc="1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assist</a:t>
            </a:r>
            <a:r>
              <a:rPr kumimoji="0" sz="950" b="0" i="1" u="none" strike="noStrike" kern="0" cap="none" spc="1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e</a:t>
            </a:r>
            <a:r>
              <a:rPr kumimoji="0" sz="950" b="0" i="1" u="none" strike="noStrike" kern="0" cap="none" spc="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chool</a:t>
            </a:r>
            <a:r>
              <a:rPr kumimoji="0" sz="950" b="0" i="1" u="none" strike="noStrike" kern="0" cap="none" spc="1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in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46050" marR="133350" lvl="0" indent="0" algn="ctr" defTabSz="914400" eaLnBrk="1" fontAlgn="auto" latinLnBrk="0" hangingPunct="1">
              <a:lnSpc>
                <a:spcPts val="105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preparing</a:t>
            </a:r>
            <a:r>
              <a:rPr kumimoji="0" sz="950" b="0" i="1" u="none" strike="noStrike" kern="0" cap="none" spc="9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for,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preventing,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146050" marR="128905" lvl="0" indent="0" algn="ctr" defTabSz="914400" eaLnBrk="1" fontAlgn="auto" latinLnBrk="0" hangingPunct="1">
              <a:lnSpc>
                <a:spcPts val="105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responding</a:t>
            </a:r>
            <a:r>
              <a:rPr kumimoji="0" sz="950" b="0" i="1" u="none" strike="noStrike" kern="0" cap="none" spc="15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COVID</a:t>
            </a:r>
            <a:r>
              <a:rPr lang="en-US" sz="950" i="1" spc="-10" dirty="0">
                <a:latin typeface="Calibri"/>
                <a:cs typeface="Calibri"/>
              </a:rPr>
              <a:t>.”</a:t>
            </a:r>
            <a:endParaRPr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10704110" y="3263724"/>
            <a:ext cx="1072808" cy="1016176"/>
          </a:xfrm>
          <a:prstGeom prst="rect">
            <a:avLst/>
          </a:prstGeom>
        </p:spPr>
        <p:txBody>
          <a:bodyPr vert="horz" wrap="square" lIns="0" tIns="22225" rIns="0" bIns="0" rtlCol="0" anchor="t">
            <a:spAutoFit/>
          </a:bodyPr>
          <a:lstStyle/>
          <a:p>
            <a:pPr marL="12065" marR="5080" lvl="0" indent="4445" algn="ctr" defTabSz="914400" eaLnBrk="1" fontAlgn="auto" latinLnBrk="0" hangingPunct="1">
              <a:lnSpc>
                <a:spcPct val="95400"/>
              </a:lnSpc>
              <a:spcBef>
                <a:spcPts val="1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“We</a:t>
            </a:r>
            <a:r>
              <a:rPr kumimoji="0" sz="950" b="0" i="1" u="none" strike="noStrike" kern="0" cap="none" spc="1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have</a:t>
            </a:r>
            <a:r>
              <a:rPr kumimoji="0" sz="950" b="0" i="1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pend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20% of</a:t>
            </a:r>
            <a:r>
              <a:rPr kumimoji="0" sz="950" b="0" i="1" u="none" strike="noStrike" kern="0" cap="none" spc="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ESSER</a:t>
            </a:r>
            <a:r>
              <a:rPr kumimoji="0" sz="950" b="0" i="1" u="none" strike="noStrike" kern="0" cap="none" spc="10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III</a:t>
            </a:r>
            <a:r>
              <a:rPr kumimoji="0" sz="950" b="0" i="1" u="none" strike="noStrike" kern="0" cap="none" spc="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for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instructional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88900" marR="79375" lvl="0" indent="0" algn="ctr" defTabSz="914400" eaLnBrk="1" fontAlgn="auto" latinLnBrk="0" hangingPunct="1">
              <a:lnSpc>
                <a:spcPts val="105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programming</a:t>
            </a:r>
            <a:r>
              <a:rPr kumimoji="0" sz="950" b="0" i="1" u="none" strike="noStrike" kern="0" cap="none" spc="1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help</a:t>
            </a:r>
            <a:r>
              <a:rPr kumimoji="0" sz="950" b="0" i="1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upport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22225" marR="12065" lvl="0" indent="142875" defTabSz="914400" eaLnBrk="1" fontAlgn="auto" latinLnBrk="0" hangingPunct="1">
              <a:lnSpc>
                <a:spcPts val="105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students</a:t>
            </a:r>
            <a:r>
              <a:rPr kumimoji="0" sz="950" b="0" i="1" u="none" strike="noStrike" kern="0" cap="none" spc="12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wh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maybe</a:t>
            </a:r>
            <a:r>
              <a:rPr kumimoji="0" sz="950" b="0" i="1" u="none" strike="noStrike" kern="0" cap="none" spc="2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fell</a:t>
            </a:r>
            <a:r>
              <a:rPr kumimoji="0" sz="950" b="0" i="1" u="none" strike="noStrike" kern="0" cap="none" spc="13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behind</a:t>
            </a:r>
            <a:r>
              <a:rPr lang="en-US" sz="950" i="1" spc="-10" dirty="0">
                <a:latin typeface="Calibri"/>
                <a:cs typeface="Calibri"/>
              </a:rPr>
              <a:t>.”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61" name="object 6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163050" y="3848100"/>
            <a:ext cx="1704975" cy="1695450"/>
          </a:xfrm>
          <a:custGeom>
            <a:avLst/>
            <a:gdLst/>
            <a:ahLst/>
            <a:cxnLst/>
            <a:rect l="l" t="t" r="r" b="b"/>
            <a:pathLst>
              <a:path w="1704975" h="1695450">
                <a:moveTo>
                  <a:pt x="852487" y="0"/>
                </a:moveTo>
                <a:lnTo>
                  <a:pt x="804112" y="1341"/>
                </a:lnTo>
                <a:lnTo>
                  <a:pt x="756445" y="5320"/>
                </a:lnTo>
                <a:lnTo>
                  <a:pt x="709558" y="11862"/>
                </a:lnTo>
                <a:lnTo>
                  <a:pt x="663523" y="20898"/>
                </a:lnTo>
                <a:lnTo>
                  <a:pt x="618411" y="32356"/>
                </a:lnTo>
                <a:lnTo>
                  <a:pt x="574296" y="46163"/>
                </a:lnTo>
                <a:lnTo>
                  <a:pt x="531248" y="62249"/>
                </a:lnTo>
                <a:lnTo>
                  <a:pt x="489340" y="80541"/>
                </a:lnTo>
                <a:lnTo>
                  <a:pt x="448643" y="100969"/>
                </a:lnTo>
                <a:lnTo>
                  <a:pt x="409230" y="123461"/>
                </a:lnTo>
                <a:lnTo>
                  <a:pt x="371173" y="147945"/>
                </a:lnTo>
                <a:lnTo>
                  <a:pt x="334544" y="174349"/>
                </a:lnTo>
                <a:lnTo>
                  <a:pt x="299414" y="202602"/>
                </a:lnTo>
                <a:lnTo>
                  <a:pt x="265855" y="232633"/>
                </a:lnTo>
                <a:lnTo>
                  <a:pt x="233940" y="264370"/>
                </a:lnTo>
                <a:lnTo>
                  <a:pt x="203741" y="297740"/>
                </a:lnTo>
                <a:lnTo>
                  <a:pt x="175329" y="332674"/>
                </a:lnTo>
                <a:lnTo>
                  <a:pt x="148776" y="369099"/>
                </a:lnTo>
                <a:lnTo>
                  <a:pt x="124155" y="406944"/>
                </a:lnTo>
                <a:lnTo>
                  <a:pt x="101537" y="446136"/>
                </a:lnTo>
                <a:lnTo>
                  <a:pt x="80994" y="486605"/>
                </a:lnTo>
                <a:lnTo>
                  <a:pt x="62599" y="528279"/>
                </a:lnTo>
                <a:lnTo>
                  <a:pt x="46423" y="571087"/>
                </a:lnTo>
                <a:lnTo>
                  <a:pt x="32538" y="614956"/>
                </a:lnTo>
                <a:lnTo>
                  <a:pt x="21016" y="659815"/>
                </a:lnTo>
                <a:lnTo>
                  <a:pt x="11929" y="705594"/>
                </a:lnTo>
                <a:lnTo>
                  <a:pt x="5350" y="752219"/>
                </a:lnTo>
                <a:lnTo>
                  <a:pt x="1349" y="799620"/>
                </a:lnTo>
                <a:lnTo>
                  <a:pt x="0" y="847725"/>
                </a:lnTo>
                <a:lnTo>
                  <a:pt x="1349" y="895829"/>
                </a:lnTo>
                <a:lnTo>
                  <a:pt x="5350" y="943230"/>
                </a:lnTo>
                <a:lnTo>
                  <a:pt x="11929" y="989855"/>
                </a:lnTo>
                <a:lnTo>
                  <a:pt x="21016" y="1035634"/>
                </a:lnTo>
                <a:lnTo>
                  <a:pt x="32538" y="1080493"/>
                </a:lnTo>
                <a:lnTo>
                  <a:pt x="46423" y="1124362"/>
                </a:lnTo>
                <a:lnTo>
                  <a:pt x="62599" y="1167170"/>
                </a:lnTo>
                <a:lnTo>
                  <a:pt x="80994" y="1208844"/>
                </a:lnTo>
                <a:lnTo>
                  <a:pt x="101537" y="1249313"/>
                </a:lnTo>
                <a:lnTo>
                  <a:pt x="124155" y="1288505"/>
                </a:lnTo>
                <a:lnTo>
                  <a:pt x="148776" y="1326350"/>
                </a:lnTo>
                <a:lnTo>
                  <a:pt x="175329" y="1362775"/>
                </a:lnTo>
                <a:lnTo>
                  <a:pt x="203741" y="1397709"/>
                </a:lnTo>
                <a:lnTo>
                  <a:pt x="233940" y="1431079"/>
                </a:lnTo>
                <a:lnTo>
                  <a:pt x="265855" y="1462816"/>
                </a:lnTo>
                <a:lnTo>
                  <a:pt x="299414" y="1492847"/>
                </a:lnTo>
                <a:lnTo>
                  <a:pt x="334544" y="1521100"/>
                </a:lnTo>
                <a:lnTo>
                  <a:pt x="371173" y="1547504"/>
                </a:lnTo>
                <a:lnTo>
                  <a:pt x="409230" y="1571988"/>
                </a:lnTo>
                <a:lnTo>
                  <a:pt x="448643" y="1594480"/>
                </a:lnTo>
                <a:lnTo>
                  <a:pt x="489340" y="1614908"/>
                </a:lnTo>
                <a:lnTo>
                  <a:pt x="531248" y="1633200"/>
                </a:lnTo>
                <a:lnTo>
                  <a:pt x="574296" y="1649286"/>
                </a:lnTo>
                <a:lnTo>
                  <a:pt x="618411" y="1663093"/>
                </a:lnTo>
                <a:lnTo>
                  <a:pt x="663523" y="1674551"/>
                </a:lnTo>
                <a:lnTo>
                  <a:pt x="709558" y="1683587"/>
                </a:lnTo>
                <a:lnTo>
                  <a:pt x="756445" y="1690129"/>
                </a:lnTo>
                <a:lnTo>
                  <a:pt x="804112" y="1694108"/>
                </a:lnTo>
                <a:lnTo>
                  <a:pt x="852487" y="1695450"/>
                </a:lnTo>
                <a:lnTo>
                  <a:pt x="900862" y="1694108"/>
                </a:lnTo>
                <a:lnTo>
                  <a:pt x="948529" y="1690129"/>
                </a:lnTo>
                <a:lnTo>
                  <a:pt x="995416" y="1683587"/>
                </a:lnTo>
                <a:lnTo>
                  <a:pt x="1041451" y="1674551"/>
                </a:lnTo>
                <a:lnTo>
                  <a:pt x="1086563" y="1663093"/>
                </a:lnTo>
                <a:lnTo>
                  <a:pt x="1130678" y="1649286"/>
                </a:lnTo>
                <a:lnTo>
                  <a:pt x="1173726" y="1633200"/>
                </a:lnTo>
                <a:lnTo>
                  <a:pt x="1215634" y="1614908"/>
                </a:lnTo>
                <a:lnTo>
                  <a:pt x="1256331" y="1594480"/>
                </a:lnTo>
                <a:lnTo>
                  <a:pt x="1295744" y="1571988"/>
                </a:lnTo>
                <a:lnTo>
                  <a:pt x="1333801" y="1547504"/>
                </a:lnTo>
                <a:lnTo>
                  <a:pt x="1370430" y="1521100"/>
                </a:lnTo>
                <a:lnTo>
                  <a:pt x="1405560" y="1492847"/>
                </a:lnTo>
                <a:lnTo>
                  <a:pt x="1439119" y="1462816"/>
                </a:lnTo>
                <a:lnTo>
                  <a:pt x="1471034" y="1431079"/>
                </a:lnTo>
                <a:lnTo>
                  <a:pt x="1501233" y="1397709"/>
                </a:lnTo>
                <a:lnTo>
                  <a:pt x="1529645" y="1362775"/>
                </a:lnTo>
                <a:lnTo>
                  <a:pt x="1556198" y="1326350"/>
                </a:lnTo>
                <a:lnTo>
                  <a:pt x="1580819" y="1288505"/>
                </a:lnTo>
                <a:lnTo>
                  <a:pt x="1603437" y="1249313"/>
                </a:lnTo>
                <a:lnTo>
                  <a:pt x="1623980" y="1208844"/>
                </a:lnTo>
                <a:lnTo>
                  <a:pt x="1642375" y="1167170"/>
                </a:lnTo>
                <a:lnTo>
                  <a:pt x="1658551" y="1124362"/>
                </a:lnTo>
                <a:lnTo>
                  <a:pt x="1672436" y="1080493"/>
                </a:lnTo>
                <a:lnTo>
                  <a:pt x="1683958" y="1035634"/>
                </a:lnTo>
                <a:lnTo>
                  <a:pt x="1693045" y="989855"/>
                </a:lnTo>
                <a:lnTo>
                  <a:pt x="1699624" y="943230"/>
                </a:lnTo>
                <a:lnTo>
                  <a:pt x="1703625" y="895829"/>
                </a:lnTo>
                <a:lnTo>
                  <a:pt x="1704975" y="847725"/>
                </a:lnTo>
                <a:lnTo>
                  <a:pt x="1703625" y="799620"/>
                </a:lnTo>
                <a:lnTo>
                  <a:pt x="1699624" y="752219"/>
                </a:lnTo>
                <a:lnTo>
                  <a:pt x="1693045" y="705594"/>
                </a:lnTo>
                <a:lnTo>
                  <a:pt x="1683958" y="659815"/>
                </a:lnTo>
                <a:lnTo>
                  <a:pt x="1672436" y="614956"/>
                </a:lnTo>
                <a:lnTo>
                  <a:pt x="1658551" y="571087"/>
                </a:lnTo>
                <a:lnTo>
                  <a:pt x="1642375" y="528279"/>
                </a:lnTo>
                <a:lnTo>
                  <a:pt x="1623980" y="486605"/>
                </a:lnTo>
                <a:lnTo>
                  <a:pt x="1603437" y="446136"/>
                </a:lnTo>
                <a:lnTo>
                  <a:pt x="1580819" y="406944"/>
                </a:lnTo>
                <a:lnTo>
                  <a:pt x="1556198" y="369099"/>
                </a:lnTo>
                <a:lnTo>
                  <a:pt x="1529645" y="332674"/>
                </a:lnTo>
                <a:lnTo>
                  <a:pt x="1501233" y="297740"/>
                </a:lnTo>
                <a:lnTo>
                  <a:pt x="1471034" y="264370"/>
                </a:lnTo>
                <a:lnTo>
                  <a:pt x="1439119" y="232633"/>
                </a:lnTo>
                <a:lnTo>
                  <a:pt x="1405560" y="202602"/>
                </a:lnTo>
                <a:lnTo>
                  <a:pt x="1370430" y="174349"/>
                </a:lnTo>
                <a:lnTo>
                  <a:pt x="1333801" y="147945"/>
                </a:lnTo>
                <a:lnTo>
                  <a:pt x="1295744" y="123461"/>
                </a:lnTo>
                <a:lnTo>
                  <a:pt x="1256331" y="100969"/>
                </a:lnTo>
                <a:lnTo>
                  <a:pt x="1215634" y="80541"/>
                </a:lnTo>
                <a:lnTo>
                  <a:pt x="1173726" y="62249"/>
                </a:lnTo>
                <a:lnTo>
                  <a:pt x="1130678" y="46163"/>
                </a:lnTo>
                <a:lnTo>
                  <a:pt x="1086563" y="32356"/>
                </a:lnTo>
                <a:lnTo>
                  <a:pt x="1041451" y="20898"/>
                </a:lnTo>
                <a:lnTo>
                  <a:pt x="995416" y="11862"/>
                </a:lnTo>
                <a:lnTo>
                  <a:pt x="948529" y="5320"/>
                </a:lnTo>
                <a:lnTo>
                  <a:pt x="900862" y="1341"/>
                </a:lnTo>
                <a:lnTo>
                  <a:pt x="85248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2" name="object 62" descr="From the In the News Section, this bubbled comment reads: “The district is also using the funding to&#10;help the staffing crisis.&#10;It's been able to attract substitutes by offering free lunches and bonus pay.”&#10;"/>
          <p:cNvSpPr txBox="1"/>
          <p:nvPr/>
        </p:nvSpPr>
        <p:spPr>
          <a:xfrm>
            <a:off x="9440809" y="4185340"/>
            <a:ext cx="1161415" cy="993775"/>
          </a:xfrm>
          <a:prstGeom prst="rect">
            <a:avLst/>
          </a:prstGeom>
        </p:spPr>
        <p:txBody>
          <a:bodyPr vert="horz" wrap="square" lIns="0" tIns="29844" rIns="0" bIns="0" rtlCol="0" anchor="t">
            <a:spAutoFit/>
          </a:bodyPr>
          <a:lstStyle/>
          <a:p>
            <a:pPr marL="69850" marR="67945" lvl="0" indent="635" algn="ctr" defTabSz="914400" eaLnBrk="1" fontAlgn="auto" latinLnBrk="0" hangingPunct="1">
              <a:lnSpc>
                <a:spcPts val="1050"/>
              </a:lnSpc>
              <a:spcBef>
                <a:spcPts val="23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“The</a:t>
            </a:r>
            <a:r>
              <a:rPr kumimoji="0" sz="950" b="0" i="1" u="none" strike="noStrike" kern="0" cap="none" spc="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district</a:t>
            </a:r>
            <a:r>
              <a:rPr kumimoji="0" sz="950" b="0" i="1" u="none" strike="noStrike" kern="0" cap="none" spc="1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is </a:t>
            </a:r>
            <a:r>
              <a:rPr kumimoji="0" sz="950" b="0" i="1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als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using</a:t>
            </a:r>
            <a:r>
              <a:rPr kumimoji="0" sz="950" b="0" i="1" u="none" strike="noStrike" kern="0" cap="none" spc="1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e</a:t>
            </a:r>
            <a:r>
              <a:rPr kumimoji="0" sz="950" b="0" i="1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funding</a:t>
            </a:r>
            <a:r>
              <a:rPr kumimoji="0" sz="950" b="0" i="1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o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0" marR="0" lvl="0" indent="0" algn="ctr" defTabSz="914400" eaLnBrk="1" fontAlgn="auto" latinLnBrk="0" hangingPunct="1">
              <a:lnSpc>
                <a:spcPts val="10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help</a:t>
            </a:r>
            <a:r>
              <a:rPr kumimoji="0" sz="950" b="0" i="1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e</a:t>
            </a:r>
            <a:r>
              <a:rPr kumimoji="0" sz="950" b="0" i="1" u="none" strike="noStrike" kern="0" cap="none" spc="10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staffing</a:t>
            </a:r>
            <a:r>
              <a:rPr kumimoji="0" sz="950" b="0" i="1" u="none" strike="noStrike" kern="0" cap="none" spc="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crisis.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31750" marR="27305" lvl="0" indent="-2540" algn="ctr" defTabSz="914400" eaLnBrk="1" fontAlgn="auto" latinLnBrk="0" hangingPunct="1">
              <a:lnSpc>
                <a:spcPct val="9430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It's</a:t>
            </a:r>
            <a:r>
              <a:rPr kumimoji="0" sz="950" b="0" i="1" u="none" strike="noStrike" kern="0" cap="none" spc="10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been</a:t>
            </a:r>
            <a:r>
              <a:rPr kumimoji="0" sz="950" b="0" i="1" u="none" strike="noStrike" kern="0" cap="none" spc="5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able</a:t>
            </a:r>
            <a:r>
              <a:rPr kumimoji="0" sz="950" b="0" i="1" u="none" strike="noStrike" kern="0" cap="none" spc="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t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attract</a:t>
            </a:r>
            <a:r>
              <a:rPr kumimoji="0" sz="950" b="0" i="1" u="none" strike="noStrike" kern="0" cap="none" spc="114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substitutes</a:t>
            </a:r>
            <a:r>
              <a:rPr kumimoji="0" sz="950" b="0" i="1" u="none" strike="noStrike" kern="0" cap="none" spc="14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by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offering</a:t>
            </a:r>
            <a:r>
              <a:rPr kumimoji="0" sz="950" b="0" i="1" u="none" strike="noStrike" kern="0" cap="none" spc="3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free</a:t>
            </a:r>
            <a:r>
              <a:rPr kumimoji="0" sz="950" b="0" i="1" u="none" strike="noStrike" kern="0" cap="none" spc="8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lunches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and</a:t>
            </a:r>
            <a:r>
              <a:rPr kumimoji="0" sz="950" b="0" i="1" u="none" strike="noStrike" kern="0" cap="none" spc="4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bonus</a:t>
            </a:r>
            <a:r>
              <a:rPr kumimoji="0" sz="950" b="0" i="1" u="none" strike="noStrike" kern="0" cap="none" spc="114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pay</a:t>
            </a:r>
            <a:r>
              <a:rPr lang="en-US" sz="950" i="1" spc="-20" dirty="0">
                <a:latin typeface="Calibri"/>
                <a:cs typeface="Calibri"/>
              </a:rPr>
              <a:t>.”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grpSp>
        <p:nvGrpSpPr>
          <p:cNvPr id="63" name="object 6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925050" y="5105400"/>
            <a:ext cx="1162050" cy="1171575"/>
            <a:chOff x="9925050" y="5105400"/>
            <a:chExt cx="1162050" cy="1171575"/>
          </a:xfrm>
        </p:grpSpPr>
        <p:pic>
          <p:nvPicPr>
            <p:cNvPr id="64" name="object 64"/>
            <p:cNvPicPr/>
            <p:nvPr/>
          </p:nvPicPr>
          <p:blipFill>
            <a:blip r:embed="rId31" cstate="print"/>
            <a:stretch>
              <a:fillRect/>
            </a:stretch>
          </p:blipFill>
          <p:spPr>
            <a:xfrm>
              <a:off x="9925050" y="5105400"/>
              <a:ext cx="1162050" cy="1171575"/>
            </a:xfrm>
            <a:prstGeom prst="rect">
              <a:avLst/>
            </a:prstGeom>
          </p:spPr>
        </p:pic>
        <p:sp>
          <p:nvSpPr>
            <p:cNvPr id="65" name="object 65"/>
            <p:cNvSpPr/>
            <p:nvPr/>
          </p:nvSpPr>
          <p:spPr>
            <a:xfrm>
              <a:off x="10010775" y="5191125"/>
              <a:ext cx="990600" cy="1000125"/>
            </a:xfrm>
            <a:custGeom>
              <a:avLst/>
              <a:gdLst/>
              <a:ahLst/>
              <a:cxnLst/>
              <a:rect l="l" t="t" r="r" b="b"/>
              <a:pathLst>
                <a:path w="990600" h="1000125">
                  <a:moveTo>
                    <a:pt x="495300" y="0"/>
                  </a:moveTo>
                  <a:lnTo>
                    <a:pt x="447599" y="2289"/>
                  </a:lnTo>
                  <a:lnTo>
                    <a:pt x="401181" y="9016"/>
                  </a:lnTo>
                  <a:lnTo>
                    <a:pt x="356254" y="19973"/>
                  </a:lnTo>
                  <a:lnTo>
                    <a:pt x="313025" y="34950"/>
                  </a:lnTo>
                  <a:lnTo>
                    <a:pt x="271701" y="53736"/>
                  </a:lnTo>
                  <a:lnTo>
                    <a:pt x="232490" y="76123"/>
                  </a:lnTo>
                  <a:lnTo>
                    <a:pt x="195600" y="101900"/>
                  </a:lnTo>
                  <a:lnTo>
                    <a:pt x="161238" y="130859"/>
                  </a:lnTo>
                  <a:lnTo>
                    <a:pt x="129612" y="162789"/>
                  </a:lnTo>
                  <a:lnTo>
                    <a:pt x="100929" y="197481"/>
                  </a:lnTo>
                  <a:lnTo>
                    <a:pt x="75397" y="234726"/>
                  </a:lnTo>
                  <a:lnTo>
                    <a:pt x="53224" y="274314"/>
                  </a:lnTo>
                  <a:lnTo>
                    <a:pt x="34617" y="316035"/>
                  </a:lnTo>
                  <a:lnTo>
                    <a:pt x="19783" y="359680"/>
                  </a:lnTo>
                  <a:lnTo>
                    <a:pt x="8931" y="405039"/>
                  </a:lnTo>
                  <a:lnTo>
                    <a:pt x="2267" y="451903"/>
                  </a:lnTo>
                  <a:lnTo>
                    <a:pt x="0" y="500062"/>
                  </a:lnTo>
                  <a:lnTo>
                    <a:pt x="2267" y="548221"/>
                  </a:lnTo>
                  <a:lnTo>
                    <a:pt x="8931" y="595085"/>
                  </a:lnTo>
                  <a:lnTo>
                    <a:pt x="19783" y="640444"/>
                  </a:lnTo>
                  <a:lnTo>
                    <a:pt x="34617" y="684089"/>
                  </a:lnTo>
                  <a:lnTo>
                    <a:pt x="53224" y="725810"/>
                  </a:lnTo>
                  <a:lnTo>
                    <a:pt x="75397" y="765398"/>
                  </a:lnTo>
                  <a:lnTo>
                    <a:pt x="100929" y="802643"/>
                  </a:lnTo>
                  <a:lnTo>
                    <a:pt x="129612" y="837335"/>
                  </a:lnTo>
                  <a:lnTo>
                    <a:pt x="161238" y="869265"/>
                  </a:lnTo>
                  <a:lnTo>
                    <a:pt x="195600" y="898224"/>
                  </a:lnTo>
                  <a:lnTo>
                    <a:pt x="232490" y="924001"/>
                  </a:lnTo>
                  <a:lnTo>
                    <a:pt x="271701" y="946388"/>
                  </a:lnTo>
                  <a:lnTo>
                    <a:pt x="313025" y="965174"/>
                  </a:lnTo>
                  <a:lnTo>
                    <a:pt x="356254" y="980151"/>
                  </a:lnTo>
                  <a:lnTo>
                    <a:pt x="401181" y="991108"/>
                  </a:lnTo>
                  <a:lnTo>
                    <a:pt x="447599" y="997835"/>
                  </a:lnTo>
                  <a:lnTo>
                    <a:pt x="495300" y="1000125"/>
                  </a:lnTo>
                  <a:lnTo>
                    <a:pt x="543000" y="997835"/>
                  </a:lnTo>
                  <a:lnTo>
                    <a:pt x="589418" y="991108"/>
                  </a:lnTo>
                  <a:lnTo>
                    <a:pt x="634345" y="980151"/>
                  </a:lnTo>
                  <a:lnTo>
                    <a:pt x="677574" y="965174"/>
                  </a:lnTo>
                  <a:lnTo>
                    <a:pt x="718898" y="946388"/>
                  </a:lnTo>
                  <a:lnTo>
                    <a:pt x="758109" y="924001"/>
                  </a:lnTo>
                  <a:lnTo>
                    <a:pt x="794999" y="898224"/>
                  </a:lnTo>
                  <a:lnTo>
                    <a:pt x="829361" y="869265"/>
                  </a:lnTo>
                  <a:lnTo>
                    <a:pt x="860987" y="837335"/>
                  </a:lnTo>
                  <a:lnTo>
                    <a:pt x="889670" y="802643"/>
                  </a:lnTo>
                  <a:lnTo>
                    <a:pt x="915202" y="765398"/>
                  </a:lnTo>
                  <a:lnTo>
                    <a:pt x="937375" y="725810"/>
                  </a:lnTo>
                  <a:lnTo>
                    <a:pt x="955982" y="684089"/>
                  </a:lnTo>
                  <a:lnTo>
                    <a:pt x="970816" y="640444"/>
                  </a:lnTo>
                  <a:lnTo>
                    <a:pt x="981668" y="595085"/>
                  </a:lnTo>
                  <a:lnTo>
                    <a:pt x="988332" y="548221"/>
                  </a:lnTo>
                  <a:lnTo>
                    <a:pt x="990600" y="500062"/>
                  </a:lnTo>
                  <a:lnTo>
                    <a:pt x="988332" y="451903"/>
                  </a:lnTo>
                  <a:lnTo>
                    <a:pt x="981668" y="405039"/>
                  </a:lnTo>
                  <a:lnTo>
                    <a:pt x="970816" y="359680"/>
                  </a:lnTo>
                  <a:lnTo>
                    <a:pt x="955982" y="316035"/>
                  </a:lnTo>
                  <a:lnTo>
                    <a:pt x="937375" y="274314"/>
                  </a:lnTo>
                  <a:lnTo>
                    <a:pt x="915202" y="234726"/>
                  </a:lnTo>
                  <a:lnTo>
                    <a:pt x="889670" y="197481"/>
                  </a:lnTo>
                  <a:lnTo>
                    <a:pt x="860987" y="162789"/>
                  </a:lnTo>
                  <a:lnTo>
                    <a:pt x="829361" y="130859"/>
                  </a:lnTo>
                  <a:lnTo>
                    <a:pt x="794999" y="101900"/>
                  </a:lnTo>
                  <a:lnTo>
                    <a:pt x="758109" y="76123"/>
                  </a:lnTo>
                  <a:lnTo>
                    <a:pt x="718898" y="53736"/>
                  </a:lnTo>
                  <a:lnTo>
                    <a:pt x="677574" y="34950"/>
                  </a:lnTo>
                  <a:lnTo>
                    <a:pt x="634345" y="19973"/>
                  </a:lnTo>
                  <a:lnTo>
                    <a:pt x="589418" y="9016"/>
                  </a:lnTo>
                  <a:lnTo>
                    <a:pt x="543000" y="2289"/>
                  </a:lnTo>
                  <a:lnTo>
                    <a:pt x="4953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6" name="object 66"/>
          <p:cNvSpPr txBox="1"/>
          <p:nvPr/>
        </p:nvSpPr>
        <p:spPr>
          <a:xfrm>
            <a:off x="10235532" y="5528310"/>
            <a:ext cx="544195" cy="349885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69850" marR="5080" lvl="0" indent="-57150" defTabSz="914400" eaLnBrk="1" fontAlgn="auto" latinLnBrk="0" hangingPunct="1">
              <a:lnSpc>
                <a:spcPts val="1200"/>
              </a:lnSpc>
              <a:spcBef>
                <a:spcPts val="26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-1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/>
                <a:cs typeface="Calibri Light"/>
              </a:rPr>
              <a:t>Read</a:t>
            </a:r>
            <a:r>
              <a:rPr kumimoji="0" sz="1100" b="0" i="0" u="none" strike="noStrike" kern="0" cap="none" spc="-5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/>
                <a:cs typeface="Calibri Light"/>
              </a:rPr>
              <a:t> </a:t>
            </a:r>
            <a:r>
              <a:rPr kumimoji="0" sz="1100" b="0" i="0" u="none" strike="noStrike" kern="0" cap="none" spc="-25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/>
                <a:cs typeface="Calibri Light"/>
              </a:rPr>
              <a:t>The </a:t>
            </a:r>
            <a:r>
              <a:rPr kumimoji="0" sz="1100" b="0" i="0" u="none" strike="noStrike" kern="0" cap="none" spc="-1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/>
                <a:cs typeface="Calibri Light"/>
              </a:rPr>
              <a:t>Article!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/>
              <a:cs typeface="Calibri Light"/>
            </a:endParaRPr>
          </a:p>
        </p:txBody>
      </p:sp>
      <p:sp>
        <p:nvSpPr>
          <p:cNvPr id="57" name="object 57" descr="A comment bubble that says: &#10;&#10;“The district&#10;added a half-day summer program and created two new positions called student engagement facilitators.”&#10;"/>
          <p:cNvSpPr txBox="1"/>
          <p:nvPr/>
        </p:nvSpPr>
        <p:spPr>
          <a:xfrm>
            <a:off x="11041546" y="4712129"/>
            <a:ext cx="916940" cy="1136650"/>
          </a:xfrm>
          <a:prstGeom prst="rect">
            <a:avLst/>
          </a:prstGeom>
        </p:spPr>
        <p:txBody>
          <a:bodyPr vert="horz" wrap="square" lIns="0" tIns="15875" rIns="0" bIns="0" rtlCol="0" anchor="t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095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“The</a:t>
            </a:r>
            <a:r>
              <a:rPr kumimoji="0" sz="950" b="0" i="1" u="none" strike="noStrike" kern="0" cap="none" spc="5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district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  <a:p>
            <a:pPr marL="12700" marR="5080" indent="-5080" algn="ctr">
              <a:lnSpc>
                <a:spcPct val="94300"/>
              </a:lnSpc>
              <a:spcBef>
                <a:spcPts val="20"/>
              </a:spcBef>
              <a:defRPr/>
            </a:pP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added</a:t>
            </a:r>
            <a:r>
              <a:rPr kumimoji="0" sz="950" b="0" i="1" u="none" strike="noStrike" kern="0" cap="none" spc="13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a</a:t>
            </a:r>
            <a:r>
              <a:rPr kumimoji="0" sz="950" b="0" i="1" u="none" strike="noStrike" kern="0" cap="none" spc="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half-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day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summer</a:t>
            </a:r>
            <a:r>
              <a:rPr kumimoji="0" sz="950" b="0" i="1" u="none" strike="noStrike" kern="0" cap="none" spc="1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program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and</a:t>
            </a:r>
            <a:r>
              <a:rPr kumimoji="0" sz="950" b="0" i="1" u="none" strike="noStrike" kern="0" cap="none" spc="-4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created</a:t>
            </a:r>
            <a:r>
              <a:rPr kumimoji="0" sz="950" b="0" i="1" u="none" strike="noStrike" kern="0" cap="none" spc="18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25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two</a:t>
            </a:r>
            <a:r>
              <a:rPr kumimoji="0" sz="95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new</a:t>
            </a:r>
            <a:r>
              <a:rPr kumimoji="0" sz="950" b="0" i="1" u="none" strike="noStrike" kern="0" cap="none" spc="9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positions</a:t>
            </a:r>
            <a:r>
              <a:rPr lang="en-US" sz="950" i="1" spc="-10" dirty="0">
                <a:latin typeface="Calibri"/>
                <a:cs typeface="Calibri"/>
              </a:rPr>
              <a:t> called student</a:t>
            </a:r>
            <a:r>
              <a:rPr kumimoji="0" sz="950" b="0" i="1" u="none" strike="noStrike" kern="0" cap="none" spc="-1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</a:rPr>
              <a:t> engagement facilitators</a:t>
            </a:r>
            <a:r>
              <a:rPr lang="en-US" sz="950" i="1" spc="-10" dirty="0">
                <a:latin typeface="Calibri"/>
                <a:cs typeface="Calibri"/>
              </a:rPr>
              <a:t>.”</a:t>
            </a:r>
            <a:endParaRPr kumimoji="0" sz="9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/>
            </a:endParaRPr>
          </a:p>
        </p:txBody>
      </p:sp>
      <p:pic>
        <p:nvPicPr>
          <p:cNvPr id="67" name="object 3">
            <a:extLst>
              <a:ext uri="{FF2B5EF4-FFF2-40B4-BE49-F238E27FC236}">
                <a16:creationId xmlns:a16="http://schemas.microsoft.com/office/drawing/2014/main" id="{5F98EF76-7120-480B-A5FF-6F718CAF9D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A6DCB4-0DE1-4699-9C05-4FFD950BE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594" y="181693"/>
            <a:ext cx="10137601" cy="369332"/>
          </a:xfrm>
        </p:spPr>
        <p:txBody>
          <a:bodyPr/>
          <a:lstStyle/>
          <a:p>
            <a:r>
              <a:rPr lang="en-US" dirty="0"/>
              <a:t>ESSER Monitoring Goals</a:t>
            </a:r>
          </a:p>
        </p:txBody>
      </p:sp>
      <p:sp>
        <p:nvSpPr>
          <p:cNvPr id="72" name="object 3">
            <a:extLst>
              <a:ext uri="{FF2B5EF4-FFF2-40B4-BE49-F238E27FC236}">
                <a16:creationId xmlns:a16="http://schemas.microsoft.com/office/drawing/2014/main" id="{1B0A670F-6621-4118-805D-FBAC1232F758}"/>
              </a:ext>
            </a:extLst>
          </p:cNvPr>
          <p:cNvSpPr txBox="1"/>
          <p:nvPr/>
        </p:nvSpPr>
        <p:spPr>
          <a:xfrm>
            <a:off x="450594" y="300688"/>
            <a:ext cx="10979406" cy="780982"/>
          </a:xfrm>
          <a:prstGeom prst="rect">
            <a:avLst/>
          </a:prstGeom>
        </p:spPr>
        <p:txBody>
          <a:bodyPr vert="horz" wrap="square" lIns="0" tIns="29209" rIns="0" bIns="0" rtlCol="0" anchor="t"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52555A"/>
                </a:solidFill>
                <a:latin typeface="Open Sans"/>
                <a:ea typeface="Open Sans"/>
                <a:cs typeface="Open Sans"/>
              </a:rPr>
              <a:t>Your friendly monitor is there to help you </a:t>
            </a:r>
            <a:r>
              <a:rPr lang="en-US" b="1" dirty="0">
                <a:solidFill>
                  <a:srgbClr val="52555A"/>
                </a:solidFill>
                <a:latin typeface="Open Sans"/>
                <a:ea typeface="Open Sans"/>
                <a:cs typeface="Open Sans"/>
              </a:rPr>
              <a:t>keep the money </a:t>
            </a:r>
            <a:r>
              <a:rPr lang="en-US" dirty="0">
                <a:solidFill>
                  <a:srgbClr val="52555A"/>
                </a:solidFill>
                <a:latin typeface="Open Sans"/>
                <a:ea typeface="Open Sans"/>
                <a:cs typeface="Open Sans"/>
              </a:rPr>
              <a:t>and educate you on </a:t>
            </a:r>
            <a:r>
              <a:rPr lang="en-US" b="1" dirty="0">
                <a:solidFill>
                  <a:srgbClr val="52555A"/>
                </a:solidFill>
                <a:latin typeface="Open Sans"/>
                <a:ea typeface="Open Sans"/>
                <a:cs typeface="Open Sans"/>
              </a:rPr>
              <a:t>what auditors are looking for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827582F8-E5CC-48E3-B11F-A56E06B7955F}"/>
              </a:ext>
            </a:extLst>
          </p:cNvPr>
          <p:cNvSpPr txBox="1"/>
          <p:nvPr/>
        </p:nvSpPr>
        <p:spPr bwMode="gray">
          <a:xfrm>
            <a:off x="1088305" y="2188030"/>
            <a:ext cx="5486573" cy="61555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20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dit Readiness</a:t>
            </a:r>
          </a:p>
          <a:p>
            <a:pPr algn="l"/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w ready are you to pass an audit?</a:t>
            </a:r>
          </a:p>
        </p:txBody>
      </p:sp>
      <p:sp>
        <p:nvSpPr>
          <p:cNvPr id="132" name="Freeform 3">
            <a:extLst>
              <a:ext uri="{FF2B5EF4-FFF2-40B4-BE49-F238E27FC236}">
                <a16:creationId xmlns:a16="http://schemas.microsoft.com/office/drawing/2014/main" id="{04186246-0BAB-4884-9807-2454DE0D36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1088305" y="3988257"/>
            <a:ext cx="7108770" cy="2150183"/>
          </a:xfrm>
          <a:custGeom>
            <a:avLst/>
            <a:gdLst>
              <a:gd name="T0" fmla="*/ 0 w 3783"/>
              <a:gd name="T1" fmla="*/ 1237 h 1144"/>
              <a:gd name="T2" fmla="*/ 4896 w 3783"/>
              <a:gd name="T3" fmla="*/ 1237 h 1144"/>
              <a:gd name="T4" fmla="*/ 6031 w 3783"/>
              <a:gd name="T5" fmla="*/ 0 h 1144"/>
              <a:gd name="T6" fmla="*/ 28 w 3783"/>
              <a:gd name="T7" fmla="*/ 0 h 1144"/>
              <a:gd name="T8" fmla="*/ 0 60000 65536"/>
              <a:gd name="T9" fmla="*/ 0 60000 65536"/>
              <a:gd name="T10" fmla="*/ 0 60000 65536"/>
              <a:gd name="T11" fmla="*/ 0 60000 65536"/>
              <a:gd name="T12" fmla="*/ 0 w 3783"/>
              <a:gd name="T13" fmla="*/ 0 h 1144"/>
              <a:gd name="T14" fmla="*/ 3783 w 3783"/>
              <a:gd name="T15" fmla="*/ 1144 h 1144"/>
              <a:gd name="connsiteX0" fmla="*/ 0 w 9997"/>
              <a:gd name="connsiteY0" fmla="*/ 9991 h 9991"/>
              <a:gd name="connsiteX1" fmla="*/ 8115 w 9997"/>
              <a:gd name="connsiteY1" fmla="*/ 9991 h 9991"/>
              <a:gd name="connsiteX2" fmla="*/ 9997 w 9997"/>
              <a:gd name="connsiteY2" fmla="*/ 0 h 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97" h="9991">
                <a:moveTo>
                  <a:pt x="0" y="9991"/>
                </a:moveTo>
                <a:lnTo>
                  <a:pt x="8115" y="9991"/>
                </a:lnTo>
                <a:lnTo>
                  <a:pt x="9997" y="0"/>
                </a:lnTo>
              </a:path>
            </a:pathLst>
          </a:custGeom>
          <a:noFill/>
          <a:ln w="38100" cap="rnd">
            <a:solidFill>
              <a:srgbClr val="BBBCBC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buFont typeface="Arial" pitchFamily="34" charset="0"/>
              <a:buChar char="•"/>
              <a:defRPr/>
            </a:pPr>
            <a:endParaRPr lang="en-GB" sz="975">
              <a:solidFill>
                <a:schemeClr val="tx2"/>
              </a:solidFill>
            </a:endParaRPr>
          </a:p>
        </p:txBody>
      </p:sp>
      <p:sp>
        <p:nvSpPr>
          <p:cNvPr id="134" name="Freeform 6">
            <a:extLst>
              <a:ext uri="{FF2B5EF4-FFF2-40B4-BE49-F238E27FC236}">
                <a16:creationId xmlns:a16="http://schemas.microsoft.com/office/drawing/2014/main" id="{4C0B0D71-72CC-45CF-A2B0-86161DD8DF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1077433" y="1792424"/>
            <a:ext cx="7119641" cy="2150183"/>
          </a:xfrm>
          <a:custGeom>
            <a:avLst/>
            <a:gdLst>
              <a:gd name="T0" fmla="*/ 0 w 3789"/>
              <a:gd name="T1" fmla="*/ 0 h 1144"/>
              <a:gd name="T2" fmla="*/ 4905 w 3789"/>
              <a:gd name="T3" fmla="*/ 0 h 1144"/>
              <a:gd name="T4" fmla="*/ 6041 w 3789"/>
              <a:gd name="T5" fmla="*/ 1237 h 1144"/>
              <a:gd name="T6" fmla="*/ 25 w 3789"/>
              <a:gd name="T7" fmla="*/ 1237 h 1144"/>
              <a:gd name="T8" fmla="*/ 0 60000 65536"/>
              <a:gd name="T9" fmla="*/ 0 60000 65536"/>
              <a:gd name="T10" fmla="*/ 0 60000 65536"/>
              <a:gd name="T11" fmla="*/ 0 60000 65536"/>
              <a:gd name="T12" fmla="*/ 0 w 3789"/>
              <a:gd name="T13" fmla="*/ 0 h 1144"/>
              <a:gd name="T14" fmla="*/ 3789 w 3789"/>
              <a:gd name="T15" fmla="*/ 1144 h 1144"/>
              <a:gd name="connsiteX0" fmla="*/ 0 w 9997"/>
              <a:gd name="connsiteY0" fmla="*/ 0 h 9991"/>
              <a:gd name="connsiteX1" fmla="*/ 8116 w 9997"/>
              <a:gd name="connsiteY1" fmla="*/ 0 h 9991"/>
              <a:gd name="connsiteX2" fmla="*/ 9997 w 9997"/>
              <a:gd name="connsiteY2" fmla="*/ 9991 h 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97" h="9991">
                <a:moveTo>
                  <a:pt x="0" y="0"/>
                </a:moveTo>
                <a:lnTo>
                  <a:pt x="8116" y="0"/>
                </a:lnTo>
                <a:lnTo>
                  <a:pt x="9997" y="9991"/>
                </a:lnTo>
              </a:path>
            </a:pathLst>
          </a:custGeom>
          <a:noFill/>
          <a:ln w="38100" cap="rnd">
            <a:solidFill>
              <a:srgbClr val="BBBCBC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buFont typeface="Arial" pitchFamily="34" charset="0"/>
              <a:buChar char="•"/>
              <a:defRPr/>
            </a:pPr>
            <a:endParaRPr lang="en-GB" sz="975">
              <a:solidFill>
                <a:schemeClr val="tx2"/>
              </a:solidFill>
            </a:endParaRPr>
          </a:p>
        </p:txBody>
      </p:sp>
      <p:sp>
        <p:nvSpPr>
          <p:cNvPr id="135" name="Freeform 8">
            <a:extLst>
              <a:ext uri="{FF2B5EF4-FFF2-40B4-BE49-F238E27FC236}">
                <a16:creationId xmlns:a16="http://schemas.microsoft.com/office/drawing/2014/main" id="{C7420888-E90F-4322-91EC-47770C3C33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1161200" y="3246684"/>
            <a:ext cx="5846076" cy="702503"/>
          </a:xfrm>
          <a:custGeom>
            <a:avLst/>
            <a:gdLst>
              <a:gd name="T0" fmla="*/ 0 w 3111"/>
              <a:gd name="T1" fmla="*/ 0 h 361"/>
              <a:gd name="T2" fmla="*/ 4629 w 3111"/>
              <a:gd name="T3" fmla="*/ 0 h 361"/>
              <a:gd name="T4" fmla="*/ 4960 w 3111"/>
              <a:gd name="T5" fmla="*/ 388 h 361"/>
              <a:gd name="T6" fmla="*/ 13 w 3111"/>
              <a:gd name="T7" fmla="*/ 388 h 361"/>
              <a:gd name="T8" fmla="*/ 0 60000 65536"/>
              <a:gd name="T9" fmla="*/ 0 60000 65536"/>
              <a:gd name="T10" fmla="*/ 0 60000 65536"/>
              <a:gd name="T11" fmla="*/ 0 60000 65536"/>
              <a:gd name="T12" fmla="*/ 0 w 3111"/>
              <a:gd name="T13" fmla="*/ 0 h 361"/>
              <a:gd name="T14" fmla="*/ 3111 w 3111"/>
              <a:gd name="T15" fmla="*/ 361 h 361"/>
              <a:gd name="connsiteX0" fmla="*/ 0 w 9997"/>
              <a:gd name="connsiteY0" fmla="*/ 0 h 9972"/>
              <a:gd name="connsiteX1" fmla="*/ 9328 w 9997"/>
              <a:gd name="connsiteY1" fmla="*/ 0 h 9972"/>
              <a:gd name="connsiteX2" fmla="*/ 9997 w 9997"/>
              <a:gd name="connsiteY2" fmla="*/ 9972 h 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97" h="9972">
                <a:moveTo>
                  <a:pt x="0" y="0"/>
                </a:moveTo>
                <a:lnTo>
                  <a:pt x="9328" y="0"/>
                </a:lnTo>
                <a:lnTo>
                  <a:pt x="9997" y="9972"/>
                </a:lnTo>
              </a:path>
            </a:pathLst>
          </a:custGeom>
          <a:noFill/>
          <a:ln w="38100" cap="rnd">
            <a:solidFill>
              <a:srgbClr val="BBBCBC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buFont typeface="Arial" pitchFamily="34" charset="0"/>
              <a:buChar char="•"/>
              <a:defRPr/>
            </a:pPr>
            <a:endParaRPr lang="en-GB" sz="975">
              <a:solidFill>
                <a:schemeClr val="tx2"/>
              </a:solidFill>
            </a:endParaRP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A97C9135-013D-423B-856F-45581B79F7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138" idx="2"/>
          </p:cNvCxnSpPr>
          <p:nvPr/>
        </p:nvCxnSpPr>
        <p:spPr>
          <a:xfrm flipH="1">
            <a:off x="7007276" y="3952234"/>
            <a:ext cx="1189798" cy="29772"/>
          </a:xfrm>
          <a:prstGeom prst="line">
            <a:avLst/>
          </a:prstGeom>
          <a:ln w="38100">
            <a:solidFill>
              <a:srgbClr val="BBBC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Freeform 8">
            <a:extLst>
              <a:ext uri="{FF2B5EF4-FFF2-40B4-BE49-F238E27FC236}">
                <a16:creationId xmlns:a16="http://schemas.microsoft.com/office/drawing/2014/main" id="{1A1D590C-B96D-4FB0-BE07-FB9BE31C9C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 flipV="1">
            <a:off x="1161200" y="3982006"/>
            <a:ext cx="5846076" cy="702503"/>
          </a:xfrm>
          <a:custGeom>
            <a:avLst/>
            <a:gdLst>
              <a:gd name="T0" fmla="*/ 0 w 3111"/>
              <a:gd name="T1" fmla="*/ 0 h 361"/>
              <a:gd name="T2" fmla="*/ 4629 w 3111"/>
              <a:gd name="T3" fmla="*/ 0 h 361"/>
              <a:gd name="T4" fmla="*/ 4960 w 3111"/>
              <a:gd name="T5" fmla="*/ 388 h 361"/>
              <a:gd name="T6" fmla="*/ 13 w 3111"/>
              <a:gd name="T7" fmla="*/ 388 h 361"/>
              <a:gd name="T8" fmla="*/ 0 60000 65536"/>
              <a:gd name="T9" fmla="*/ 0 60000 65536"/>
              <a:gd name="T10" fmla="*/ 0 60000 65536"/>
              <a:gd name="T11" fmla="*/ 0 60000 65536"/>
              <a:gd name="T12" fmla="*/ 0 w 3111"/>
              <a:gd name="T13" fmla="*/ 0 h 361"/>
              <a:gd name="T14" fmla="*/ 3111 w 3111"/>
              <a:gd name="T15" fmla="*/ 361 h 361"/>
              <a:gd name="connsiteX0" fmla="*/ 0 w 9997"/>
              <a:gd name="connsiteY0" fmla="*/ 0 h 9972"/>
              <a:gd name="connsiteX1" fmla="*/ 9328 w 9997"/>
              <a:gd name="connsiteY1" fmla="*/ 0 h 9972"/>
              <a:gd name="connsiteX2" fmla="*/ 9997 w 9997"/>
              <a:gd name="connsiteY2" fmla="*/ 9972 h 9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97" h="9972">
                <a:moveTo>
                  <a:pt x="0" y="0"/>
                </a:moveTo>
                <a:lnTo>
                  <a:pt x="9328" y="0"/>
                </a:lnTo>
                <a:lnTo>
                  <a:pt x="9997" y="9972"/>
                </a:lnTo>
              </a:path>
            </a:pathLst>
          </a:custGeom>
          <a:noFill/>
          <a:ln w="38100" cap="rnd">
            <a:solidFill>
              <a:srgbClr val="BBBCBC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buFont typeface="Arial" pitchFamily="34" charset="0"/>
              <a:buChar char="•"/>
              <a:defRPr/>
            </a:pPr>
            <a:endParaRPr lang="en-GB" sz="975">
              <a:solidFill>
                <a:schemeClr val="tx2"/>
              </a:solidFill>
            </a:endParaRPr>
          </a:p>
        </p:txBody>
      </p:sp>
      <p:sp>
        <p:nvSpPr>
          <p:cNvPr id="139" name="TextBox 138" descr="One of three ESSER Monitoring Goals. It reads: Confidence in Procedures&#10;Building confidence that your procedures align with grant requirements.&#10;&#10;">
            <a:extLst>
              <a:ext uri="{FF2B5EF4-FFF2-40B4-BE49-F238E27FC236}">
                <a16:creationId xmlns:a16="http://schemas.microsoft.com/office/drawing/2014/main" id="{90DEDD3A-E8BF-41F8-8730-E0E20DB7C513}"/>
              </a:ext>
            </a:extLst>
          </p:cNvPr>
          <p:cNvSpPr txBox="1"/>
          <p:nvPr/>
        </p:nvSpPr>
        <p:spPr bwMode="gray">
          <a:xfrm>
            <a:off x="1077434" y="3511174"/>
            <a:ext cx="5255340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20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fidence in Procedures</a:t>
            </a:r>
          </a:p>
          <a:p>
            <a:pPr algn="l"/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uilding confidence that your procedures align with grant requirements</a:t>
            </a:r>
          </a:p>
        </p:txBody>
      </p:sp>
      <p:sp>
        <p:nvSpPr>
          <p:cNvPr id="140" name="TextBox 139" descr="One of three ESSER Monitoring Goals. It reads: &quot;Understanding Federal Guidance&#10;Applying compliance with the federal guidelines through testing ESSER expenditures.&#10;">
            <a:extLst>
              <a:ext uri="{FF2B5EF4-FFF2-40B4-BE49-F238E27FC236}">
                <a16:creationId xmlns:a16="http://schemas.microsoft.com/office/drawing/2014/main" id="{42A53A4F-A2F8-437B-91DF-BFAB3B67220E}"/>
              </a:ext>
            </a:extLst>
          </p:cNvPr>
          <p:cNvSpPr txBox="1"/>
          <p:nvPr/>
        </p:nvSpPr>
        <p:spPr bwMode="gray">
          <a:xfrm>
            <a:off x="1088305" y="4994798"/>
            <a:ext cx="5687910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20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nderstanding Federal Guidance</a:t>
            </a:r>
          </a:p>
          <a:p>
            <a:pPr algn="l"/>
            <a:r>
              <a:rPr lang="en-US" sz="2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pplying compliance with the federal guidelines through testing ESSER expenditures</a:t>
            </a:r>
            <a:endParaRPr lang="en-US" sz="2000" b="1" i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id="{A8536ADB-98CA-4298-B413-17A5BE7ADC1C}"/>
              </a:ext>
            </a:extLst>
          </p:cNvPr>
          <p:cNvSpPr/>
          <p:nvPr/>
        </p:nvSpPr>
        <p:spPr bwMode="gray">
          <a:xfrm>
            <a:off x="8473901" y="2374839"/>
            <a:ext cx="3048001" cy="3049723"/>
          </a:xfrm>
          <a:prstGeom prst="ellipse">
            <a:avLst/>
          </a:prstGeom>
          <a:solidFill>
            <a:srgbClr val="0070C0"/>
          </a:solidFill>
          <a:ln w="762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231" tIns="72231" rIns="72231" bIns="72231" rtlCol="0" anchor="b"/>
          <a:lstStyle/>
          <a:p>
            <a:pPr algn="ctr"/>
            <a:r>
              <a:rPr lang="en-US" sz="2800" b="1" i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eep the money in school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64C080D-1407-4401-B617-012B74E82C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40701" y="2602762"/>
            <a:ext cx="914400" cy="914400"/>
          </a:xfrm>
          <a:prstGeom prst="rect">
            <a:avLst/>
          </a:prstGeom>
        </p:spPr>
      </p:pic>
      <p:pic>
        <p:nvPicPr>
          <p:cNvPr id="13" name="object 3">
            <a:extLst>
              <a:ext uri="{FF2B5EF4-FFF2-40B4-BE49-F238E27FC236}">
                <a16:creationId xmlns:a16="http://schemas.microsoft.com/office/drawing/2014/main" id="{C862C195-3D95-4FA3-847D-4E508ADAAD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8157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bject 3">
            <a:extLst>
              <a:ext uri="{FF2B5EF4-FFF2-40B4-BE49-F238E27FC236}">
                <a16:creationId xmlns:a16="http://schemas.microsoft.com/office/drawing/2014/main" id="{695013E8-39F8-4E97-A412-8D971CDA5BF4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50593" y="300688"/>
            <a:ext cx="11106101" cy="64248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29209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e’re Your Monitors, Not Your Auditors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Leverage your monitors to improve your processe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8448AFE1-801E-46B3-B2B6-2F09AAC8BD02}"/>
              </a:ext>
            </a:extLst>
          </p:cNvPr>
          <p:cNvSpPr txBox="1">
            <a:spLocks/>
          </p:cNvSpPr>
          <p:nvPr/>
        </p:nvSpPr>
        <p:spPr>
          <a:xfrm>
            <a:off x="703457" y="1833554"/>
            <a:ext cx="5300186" cy="35162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488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13506" indent="-113506" algn="l" defTabSz="742950" rtl="0" eaLnBrk="1" latinLnBrk="0" hangingPunct="1">
              <a:spcBef>
                <a:spcPts val="0"/>
              </a:spcBef>
              <a:spcAft>
                <a:spcPts val="488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247650" indent="-113506" algn="l" defTabSz="742950" rtl="0" eaLnBrk="1" latinLnBrk="0" hangingPunct="1">
              <a:spcBef>
                <a:spcPts val="0"/>
              </a:spcBef>
              <a:spcAft>
                <a:spcPts val="488"/>
              </a:spcAft>
              <a:buClrTx/>
              <a:buSzPct val="100000"/>
              <a:buFont typeface="Arial" panose="020B0604020202020204" pitchFamily="34" charset="0"/>
              <a:buChar char="−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381794" indent="-113506" algn="l" defTabSz="742950" rtl="0" eaLnBrk="1" latinLnBrk="0" hangingPunct="1">
              <a:spcBef>
                <a:spcPts val="0"/>
              </a:spcBef>
              <a:spcAft>
                <a:spcPts val="488"/>
              </a:spcAft>
              <a:buClrTx/>
              <a:buSzPct val="100000"/>
              <a:buFont typeface="Arial" panose="020B0604020202020204" pitchFamily="34" charset="0"/>
              <a:buChar char="◦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515938" indent="-113506" algn="l" defTabSz="648792" rtl="0" eaLnBrk="1" latinLnBrk="0" hangingPunct="1">
              <a:spcBef>
                <a:spcPts val="0"/>
              </a:spcBef>
              <a:spcAft>
                <a:spcPts val="488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432900" indent="-143325" algn="l" defTabSz="742950" rtl="0" eaLnBrk="1" latinLnBrk="0" hangingPunct="1">
              <a:spcBef>
                <a:spcPts val="0"/>
              </a:spcBef>
              <a:spcAft>
                <a:spcPts val="813"/>
              </a:spcAft>
              <a:buFont typeface="Verdana" panose="020B0604030504040204" pitchFamily="34" charset="0"/>
              <a:buChar char="−"/>
              <a:defRPr sz="9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900" indent="-143325" algn="l" defTabSz="742950" rtl="0" eaLnBrk="1" latinLnBrk="0" hangingPunct="1">
              <a:spcBef>
                <a:spcPts val="0"/>
              </a:spcBef>
              <a:spcAft>
                <a:spcPts val="813"/>
              </a:spcAft>
              <a:buFont typeface="Verdana" panose="020B0604030504040204" pitchFamily="34" charset="0"/>
              <a:buChar char="−"/>
              <a:defRPr sz="9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900" indent="-143325" algn="l" defTabSz="742950" rtl="0" eaLnBrk="1" latinLnBrk="0" hangingPunct="1">
              <a:spcBef>
                <a:spcPts val="0"/>
              </a:spcBef>
              <a:spcAft>
                <a:spcPts val="813"/>
              </a:spcAft>
              <a:buFont typeface="Verdana" panose="020B0604030504040204" pitchFamily="34" charset="0"/>
              <a:buChar char="−"/>
              <a:defRPr sz="9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00" indent="-143325" algn="l" defTabSz="742950" rtl="0" eaLnBrk="1" latinLnBrk="0" hangingPunct="1">
              <a:spcBef>
                <a:spcPts val="0"/>
              </a:spcBef>
              <a:spcAft>
                <a:spcPts val="813"/>
              </a:spcAft>
              <a:buFont typeface="Verdana" panose="020B0604030504040204" pitchFamily="34" charset="0"/>
              <a:buChar char="−"/>
              <a:defRPr sz="9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iven ESSER funding is not “business as usual” (more dollars and allowable uses), the monitoring procedures may be extensive.</a:t>
            </a:r>
          </a:p>
          <a:p>
            <a:pPr algn="ctr"/>
            <a:endParaRPr lang="en-US" sz="20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en-US" sz="20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SER monitoring presents with a unique opportunity to improve and implement </a:t>
            </a:r>
            <a:r>
              <a:rPr lang="en-US" sz="28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ading grant management practices for the long term.</a:t>
            </a:r>
            <a:endParaRPr lang="en-US" sz="2000" b="1" dirty="0">
              <a:solidFill>
                <a:srgbClr val="0070C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" name="Group 2" descr="A diagram showing what it takes to be compliant with 2 CFR Part 200. It points to 6 things: &#10;&#10;1. Allowable Costs &#10;2. Consistent Policies and Procedures&#10;3. Separation of Duties&#10;4. Adequate Support Documents&#10;5. Good Faith Compliance &#10;6. Informed Oversight ">
            <a:extLst>
              <a:ext uri="{FF2B5EF4-FFF2-40B4-BE49-F238E27FC236}">
                <a16:creationId xmlns:a16="http://schemas.microsoft.com/office/drawing/2014/main" id="{ED755F4C-CB1F-4CB3-B1A0-F85666A744A6}"/>
              </a:ext>
            </a:extLst>
          </p:cNvPr>
          <p:cNvGrpSpPr/>
          <p:nvPr/>
        </p:nvGrpSpPr>
        <p:grpSpPr>
          <a:xfrm>
            <a:off x="6858002" y="1295399"/>
            <a:ext cx="4159548" cy="4740488"/>
            <a:chOff x="6203652" y="2189202"/>
            <a:chExt cx="3370878" cy="3841671"/>
          </a:xfrm>
        </p:grpSpPr>
        <p:sp>
          <p:nvSpPr>
            <p:cNvPr id="49" name="Line 27"/>
            <p:cNvSpPr>
              <a:spLocks noChangeShapeType="1"/>
            </p:cNvSpPr>
            <p:nvPr/>
          </p:nvSpPr>
          <p:spPr bwMode="blackWhite">
            <a:xfrm>
              <a:off x="7880448" y="2715458"/>
              <a:ext cx="1124744" cy="2012156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0" name="Line 28"/>
            <p:cNvSpPr>
              <a:spLocks noChangeShapeType="1"/>
            </p:cNvSpPr>
            <p:nvPr/>
          </p:nvSpPr>
          <p:spPr bwMode="blackWhite">
            <a:xfrm flipH="1">
              <a:off x="6732488" y="2715458"/>
              <a:ext cx="1126034" cy="2012156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1" name="Line 29"/>
            <p:cNvSpPr>
              <a:spLocks noChangeShapeType="1"/>
            </p:cNvSpPr>
            <p:nvPr/>
          </p:nvSpPr>
          <p:spPr bwMode="blackWhite">
            <a:xfrm>
              <a:off x="6723459" y="3451959"/>
              <a:ext cx="1123454" cy="2012156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2" name="Line 30"/>
            <p:cNvSpPr>
              <a:spLocks noChangeShapeType="1"/>
            </p:cNvSpPr>
            <p:nvPr/>
          </p:nvSpPr>
          <p:spPr bwMode="blackWhite">
            <a:xfrm flipH="1">
              <a:off x="7901086" y="3451959"/>
              <a:ext cx="1126034" cy="2012156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3" name="Line 31"/>
            <p:cNvSpPr>
              <a:spLocks noChangeShapeType="1"/>
            </p:cNvSpPr>
            <p:nvPr/>
          </p:nvSpPr>
          <p:spPr bwMode="blackWhite">
            <a:xfrm>
              <a:off x="9054465" y="3424873"/>
              <a:ext cx="0" cy="1128614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4" name="Line 32"/>
            <p:cNvSpPr>
              <a:spLocks noChangeShapeType="1"/>
            </p:cNvSpPr>
            <p:nvPr/>
          </p:nvSpPr>
          <p:spPr bwMode="blackWhite">
            <a:xfrm>
              <a:off x="6723717" y="3424873"/>
              <a:ext cx="0" cy="1128614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5" name="Line 33"/>
            <p:cNvSpPr>
              <a:spLocks noChangeShapeType="1"/>
            </p:cNvSpPr>
            <p:nvPr/>
          </p:nvSpPr>
          <p:spPr bwMode="blackWhite">
            <a:xfrm rot="16200000" flipH="1" flipV="1">
              <a:off x="6938219" y="2485223"/>
              <a:ext cx="702964" cy="1129903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r>
                <a:rPr lang="en-US" sz="800" kern="120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ullet</a:t>
              </a:r>
            </a:p>
            <a:p>
              <a:pPr algn="l" rtl="0"/>
              <a:r>
                <a:rPr lang="en-US" sz="800" kern="120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ash</a:t>
              </a:r>
            </a:p>
            <a:p>
              <a:pPr algn="l" rtl="0"/>
              <a:r>
                <a:rPr lang="en-US" sz="800" kern="120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ub-bullet</a:t>
              </a:r>
            </a:p>
          </p:txBody>
        </p:sp>
        <p:sp>
          <p:nvSpPr>
            <p:cNvPr id="56" name="Line 34"/>
            <p:cNvSpPr>
              <a:spLocks noChangeShapeType="1"/>
            </p:cNvSpPr>
            <p:nvPr/>
          </p:nvSpPr>
          <p:spPr bwMode="blackWhite">
            <a:xfrm rot="5400000" flipV="1">
              <a:off x="8090695" y="2485867"/>
              <a:ext cx="702964" cy="1128614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7" name="Line 35"/>
            <p:cNvSpPr>
              <a:spLocks noChangeShapeType="1"/>
            </p:cNvSpPr>
            <p:nvPr/>
          </p:nvSpPr>
          <p:spPr bwMode="blackWhite">
            <a:xfrm rot="5400000" flipH="1">
              <a:off x="6938219" y="4577349"/>
              <a:ext cx="702964" cy="1129903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8" name="Line 36"/>
            <p:cNvSpPr>
              <a:spLocks noChangeShapeType="1"/>
            </p:cNvSpPr>
            <p:nvPr/>
          </p:nvSpPr>
          <p:spPr bwMode="blackWhite">
            <a:xfrm rot="16200000">
              <a:off x="8090695" y="4577994"/>
              <a:ext cx="702964" cy="1128614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9" name="Line 37"/>
            <p:cNvSpPr>
              <a:spLocks noChangeShapeType="1"/>
            </p:cNvSpPr>
            <p:nvPr/>
          </p:nvSpPr>
          <p:spPr bwMode="blackWhite">
            <a:xfrm rot="16200000">
              <a:off x="7191029" y="2950857"/>
              <a:ext cx="1365945" cy="2283023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0" name="Line 38"/>
            <p:cNvSpPr>
              <a:spLocks noChangeShapeType="1"/>
            </p:cNvSpPr>
            <p:nvPr/>
          </p:nvSpPr>
          <p:spPr bwMode="blackWhite">
            <a:xfrm rot="5400000" flipH="1">
              <a:off x="7179419" y="2923769"/>
              <a:ext cx="1373684" cy="2344936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1" name="Line 39"/>
            <p:cNvSpPr>
              <a:spLocks noChangeShapeType="1"/>
            </p:cNvSpPr>
            <p:nvPr/>
          </p:nvSpPr>
          <p:spPr bwMode="blackWhite">
            <a:xfrm>
              <a:off x="7888446" y="3061138"/>
              <a:ext cx="0" cy="2258517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2" name="Oval 40"/>
            <p:cNvSpPr>
              <a:spLocks noChangeArrowheads="1"/>
            </p:cNvSpPr>
            <p:nvPr/>
          </p:nvSpPr>
          <p:spPr bwMode="auto">
            <a:xfrm>
              <a:off x="6203652" y="2908935"/>
              <a:ext cx="1040130" cy="1040130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050" b="1" kern="12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llowable Costs</a:t>
              </a:r>
            </a:p>
          </p:txBody>
        </p:sp>
        <p:sp>
          <p:nvSpPr>
            <p:cNvPr id="63" name="Oval 41"/>
            <p:cNvSpPr>
              <a:spLocks noChangeArrowheads="1"/>
            </p:cNvSpPr>
            <p:nvPr/>
          </p:nvSpPr>
          <p:spPr bwMode="auto">
            <a:xfrm>
              <a:off x="8534400" y="2908935"/>
              <a:ext cx="1040129" cy="104013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050" b="1" kern="12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eparation of Duties</a:t>
              </a:r>
            </a:p>
          </p:txBody>
        </p:sp>
        <p:sp>
          <p:nvSpPr>
            <p:cNvPr id="64" name="Oval 42"/>
            <p:cNvSpPr>
              <a:spLocks noChangeArrowheads="1"/>
            </p:cNvSpPr>
            <p:nvPr/>
          </p:nvSpPr>
          <p:spPr bwMode="auto">
            <a:xfrm>
              <a:off x="8534400" y="4269720"/>
              <a:ext cx="1040130" cy="1040130"/>
            </a:xfrm>
            <a:prstGeom prst="ellipse">
              <a:avLst/>
            </a:prstGeom>
            <a:solidFill>
              <a:schemeClr val="tx1"/>
            </a:solidFill>
            <a:ln w="12700">
              <a:noFill/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050" b="1" kern="120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dequate Support Documents</a:t>
              </a:r>
            </a:p>
          </p:txBody>
        </p:sp>
        <p:sp>
          <p:nvSpPr>
            <p:cNvPr id="65" name="Oval 43"/>
            <p:cNvSpPr>
              <a:spLocks noChangeArrowheads="1"/>
            </p:cNvSpPr>
            <p:nvPr/>
          </p:nvSpPr>
          <p:spPr bwMode="auto">
            <a:xfrm>
              <a:off x="6203652" y="4269720"/>
              <a:ext cx="1040130" cy="1040130"/>
            </a:xfrm>
            <a:prstGeom prst="ellipse">
              <a:avLst/>
            </a:prstGeom>
            <a:solidFill>
              <a:srgbClr val="0070C0"/>
            </a:solidFill>
            <a:ln w="12700">
              <a:noFill/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050" b="1" kern="120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formed Oversight</a:t>
              </a:r>
            </a:p>
          </p:txBody>
        </p:sp>
        <p:sp>
          <p:nvSpPr>
            <p:cNvPr id="66" name="Oval 44"/>
            <p:cNvSpPr>
              <a:spLocks noChangeArrowheads="1"/>
            </p:cNvSpPr>
            <p:nvPr/>
          </p:nvSpPr>
          <p:spPr bwMode="auto">
            <a:xfrm>
              <a:off x="7310080" y="3520452"/>
              <a:ext cx="1158796" cy="1158796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100" b="1" kern="1200" dirty="0">
                  <a:latin typeface="Open Sans"/>
                  <a:ea typeface="Open Sans"/>
                  <a:cs typeface="Open Sans"/>
                </a:rPr>
                <a:t>Compliance with </a:t>
              </a:r>
              <a:br>
                <a:rPr lang="en-US" sz="1100" b="1" kern="1200" dirty="0">
                  <a:latin typeface="Open Sans"/>
                  <a:ea typeface="Open Sans"/>
                  <a:cs typeface="Open Sans"/>
                </a:rPr>
              </a:br>
              <a:r>
                <a:rPr lang="en-US" sz="1100" b="1" kern="1200" dirty="0">
                  <a:latin typeface="Open Sans"/>
                  <a:ea typeface="Open Sans"/>
                  <a:cs typeface="Open Sans"/>
                </a:rPr>
                <a:t>2 CFR Part 200</a:t>
              </a:r>
              <a:endParaRPr lang="en-US" sz="1100" b="1" kern="12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7" name="Oval 45"/>
            <p:cNvSpPr>
              <a:spLocks noChangeArrowheads="1"/>
            </p:cNvSpPr>
            <p:nvPr/>
          </p:nvSpPr>
          <p:spPr bwMode="auto">
            <a:xfrm>
              <a:off x="7368381" y="4990743"/>
              <a:ext cx="1040130" cy="1040130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 w="12700">
              <a:noFill/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050" b="1" kern="1200" dirty="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Good Faith </a:t>
              </a:r>
              <a:r>
                <a:rPr lang="en-US" sz="1025" b="1" kern="1200" dirty="0">
                  <a:solidFill>
                    <a:prstClr val="white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mpliance</a:t>
              </a:r>
            </a:p>
          </p:txBody>
        </p:sp>
        <p:sp>
          <p:nvSpPr>
            <p:cNvPr id="68" name="Oval 46"/>
            <p:cNvSpPr>
              <a:spLocks noChangeArrowheads="1"/>
            </p:cNvSpPr>
            <p:nvPr/>
          </p:nvSpPr>
          <p:spPr bwMode="auto">
            <a:xfrm>
              <a:off x="7368381" y="2189202"/>
              <a:ext cx="1040130" cy="1040130"/>
            </a:xfrm>
            <a:prstGeom prst="ellipse">
              <a:avLst/>
            </a:prstGeom>
            <a:solidFill>
              <a:schemeClr val="bg2"/>
            </a:solidFill>
            <a:ln w="12700">
              <a:noFill/>
              <a:round/>
              <a:headEnd/>
              <a:tailEnd/>
            </a:ln>
          </p:spPr>
          <p:txBody>
            <a:bodyPr wrap="square" lIns="72231" tIns="72231" rIns="72231" bIns="72231" anchor="ctr">
              <a:noAutofit/>
            </a:bodyPr>
            <a:lstStyle/>
            <a:p>
              <a:pPr algn="ctr" defTabSz="741661" rtl="0">
                <a:spcBef>
                  <a:spcPct val="0"/>
                </a:spcBef>
                <a:spcAft>
                  <a:spcPct val="37000"/>
                </a:spcAft>
                <a:buSzPct val="75000"/>
              </a:pPr>
              <a:r>
                <a:rPr lang="en-US" sz="1050" b="1" kern="120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nsistent Policies &amp; Procedures</a:t>
              </a:r>
            </a:p>
          </p:txBody>
        </p:sp>
        <p:sp>
          <p:nvSpPr>
            <p:cNvPr id="69" name="Line 47"/>
            <p:cNvSpPr>
              <a:spLocks noChangeShapeType="1"/>
            </p:cNvSpPr>
            <p:nvPr/>
          </p:nvSpPr>
          <p:spPr bwMode="blackWhite">
            <a:xfrm rot="16200000">
              <a:off x="7886253" y="4134933"/>
              <a:ext cx="0" cy="1296293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0" name="Line 48"/>
            <p:cNvSpPr>
              <a:spLocks noChangeShapeType="1"/>
            </p:cNvSpPr>
            <p:nvPr/>
          </p:nvSpPr>
          <p:spPr bwMode="blackWhite">
            <a:xfrm rot="16200000">
              <a:off x="7888833" y="2735452"/>
              <a:ext cx="0" cy="1296293"/>
            </a:xfrm>
            <a:prstGeom prst="line">
              <a:avLst/>
            </a:prstGeom>
            <a:noFill/>
            <a:ln w="6350">
              <a:solidFill>
                <a:srgbClr val="BBBCBC"/>
              </a:solidFill>
              <a:round/>
              <a:headEnd/>
              <a:tailEnd/>
            </a:ln>
          </p:spPr>
          <p:txBody>
            <a:bodyPr wrap="square" lIns="29250" tIns="29250" rIns="29250" bIns="29250" anchor="ctr">
              <a:noAutofit/>
            </a:bodyPr>
            <a:lstStyle/>
            <a:p>
              <a:pPr algn="l" rtl="0"/>
              <a:endParaRPr lang="en-US" sz="1200" kern="120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pic>
        <p:nvPicPr>
          <p:cNvPr id="27" name="object 3">
            <a:extLst>
              <a:ext uri="{FF2B5EF4-FFF2-40B4-BE49-F238E27FC236}">
                <a16:creationId xmlns:a16="http://schemas.microsoft.com/office/drawing/2014/main" id="{CA1B9D68-DE99-4013-AFD9-080AB96142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36908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16944C6-9CD0-47A5-9733-C39E84B25E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164909" y="1423308"/>
            <a:ext cx="0" cy="512064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object 3">
            <a:extLst>
              <a:ext uri="{FF2B5EF4-FFF2-40B4-BE49-F238E27FC236}">
                <a16:creationId xmlns:a16="http://schemas.microsoft.com/office/drawing/2014/main" id="{CD1706C2-A464-4470-8CC8-5CC7A030155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50594" y="300688"/>
            <a:ext cx="10979406" cy="98873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29209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edback Received From LEAs</a:t>
            </a:r>
          </a:p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Local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2555A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Education Agencies (LEAs) found the ESSER monitoring process supportive and impactful*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2555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" marR="0" lvl="0" indent="0" defTabSz="914400" eaLnBrk="1" fontAlgn="auto" latinLnBrk="0" hangingPunct="1">
              <a:lnSpc>
                <a:spcPct val="100000"/>
              </a:lnSpc>
              <a:spcBef>
                <a:spcPts val="22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" name="Group 2" descr="Visual depicting 48 of 49 LEAs reported that the monitoring visit was helpful to their organization.">
            <a:extLst>
              <a:ext uri="{FF2B5EF4-FFF2-40B4-BE49-F238E27FC236}">
                <a16:creationId xmlns:a16="http://schemas.microsoft.com/office/drawing/2014/main" id="{52721984-EF96-4F18-ADEE-E54328B60ADD}"/>
              </a:ext>
            </a:extLst>
          </p:cNvPr>
          <p:cNvGrpSpPr/>
          <p:nvPr/>
        </p:nvGrpSpPr>
        <p:grpSpPr>
          <a:xfrm>
            <a:off x="555276" y="1406283"/>
            <a:ext cx="6160486" cy="1922296"/>
            <a:chOff x="1129324" y="2702417"/>
            <a:chExt cx="3560784" cy="1111094"/>
          </a:xfrm>
        </p:grpSpPr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5E8D721F-3893-49C9-8E81-CC02AD09AA17}"/>
                </a:ext>
              </a:extLst>
            </p:cNvPr>
            <p:cNvGrpSpPr/>
            <p:nvPr/>
          </p:nvGrpSpPr>
          <p:grpSpPr>
            <a:xfrm>
              <a:off x="1156904" y="2909271"/>
              <a:ext cx="2218154" cy="525781"/>
              <a:chOff x="458559" y="3617298"/>
              <a:chExt cx="2218154" cy="525781"/>
            </a:xfrm>
          </p:grpSpPr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4BBE3AC4-45D1-498A-8498-2D6A3121F23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61485" y="3880128"/>
                <a:ext cx="1715228" cy="61"/>
              </a:xfrm>
              <a:prstGeom prst="line">
                <a:avLst/>
              </a:prstGeom>
              <a:ln w="177800" cap="rnd">
                <a:solidFill>
                  <a:srgbClr val="00558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40A67AA0-A511-45A7-8ED8-1A62BE5C7DAA}"/>
                  </a:ext>
                </a:extLst>
              </p:cNvPr>
              <p:cNvSpPr/>
              <p:nvPr/>
            </p:nvSpPr>
            <p:spPr>
              <a:xfrm>
                <a:off x="458559" y="3617298"/>
                <a:ext cx="513640" cy="525781"/>
              </a:xfrm>
              <a:prstGeom prst="ellipse">
                <a:avLst/>
              </a:prstGeom>
              <a:solidFill>
                <a:schemeClr val="bg1"/>
              </a:solidFill>
              <a:ln w="44450">
                <a:solidFill>
                  <a:srgbClr val="00558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pic>
            <p:nvPicPr>
              <p:cNvPr id="47" name="Graphic 46" descr="Classroom with solid fill">
                <a:extLst>
                  <a:ext uri="{FF2B5EF4-FFF2-40B4-BE49-F238E27FC236}">
                    <a16:creationId xmlns:a16="http://schemas.microsoft.com/office/drawing/2014/main" id="{21075BF7-0EC5-4E19-BDE0-92454E11EE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43369" y="3708796"/>
                <a:ext cx="334752" cy="342665"/>
              </a:xfrm>
              <a:prstGeom prst="rect">
                <a:avLst/>
              </a:prstGeom>
            </p:spPr>
          </p:pic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911DA24-C73D-4491-8019-0D2C8C46FDED}"/>
                </a:ext>
              </a:extLst>
            </p:cNvPr>
            <p:cNvSpPr txBox="1"/>
            <p:nvPr/>
          </p:nvSpPr>
          <p:spPr>
            <a:xfrm>
              <a:off x="1576466" y="2702417"/>
              <a:ext cx="3113642" cy="2273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300" normalizeH="0" baseline="0" noProof="0" dirty="0">
                  <a:ln>
                    <a:noFill/>
                  </a:ln>
                  <a:solidFill>
                    <a:srgbClr val="005587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FFERING SUPPORT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88271C97-ED22-40FA-A46F-6DAB56B8C2B7}"/>
                </a:ext>
              </a:extLst>
            </p:cNvPr>
            <p:cNvSpPr txBox="1"/>
            <p:nvPr/>
          </p:nvSpPr>
          <p:spPr>
            <a:xfrm>
              <a:off x="3507609" y="2967520"/>
              <a:ext cx="978187" cy="40916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98%</a:t>
              </a:r>
            </a:p>
          </p:txBody>
        </p:sp>
        <p:sp>
          <p:nvSpPr>
            <p:cNvPr id="75" name="TextBox 74" descr="48 of 49 LEAs reported that the monitoring visit was helpful to their organization. ">
              <a:extLst>
                <a:ext uri="{FF2B5EF4-FFF2-40B4-BE49-F238E27FC236}">
                  <a16:creationId xmlns:a16="http://schemas.microsoft.com/office/drawing/2014/main" id="{8FEA029D-310D-4D96-8B73-53E81C14F147}"/>
                </a:ext>
              </a:extLst>
            </p:cNvPr>
            <p:cNvSpPr txBox="1"/>
            <p:nvPr/>
          </p:nvSpPr>
          <p:spPr>
            <a:xfrm>
              <a:off x="1129324" y="3471839"/>
              <a:ext cx="3237324" cy="34167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1200" dirty="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48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 of </a:t>
              </a:r>
              <a:r>
                <a:rPr lang="en-US" sz="1400" b="1" kern="1200" dirty="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49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LEAs reported that the monitoring visit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was helpful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to their organization</a:t>
              </a:r>
              <a:r>
                <a:rPr lang="en-US" sz="1400" kern="1200" dirty="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.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2" name="Group 1" descr="Visual dipicting 44 of 49 LEAs are adjusting their processes as a result of what they learned during the monitoring visits">
            <a:extLst>
              <a:ext uri="{FF2B5EF4-FFF2-40B4-BE49-F238E27FC236}">
                <a16:creationId xmlns:a16="http://schemas.microsoft.com/office/drawing/2014/main" id="{95060D80-2245-44E2-9A46-DBA35A9F5082}"/>
              </a:ext>
            </a:extLst>
          </p:cNvPr>
          <p:cNvGrpSpPr/>
          <p:nvPr/>
        </p:nvGrpSpPr>
        <p:grpSpPr>
          <a:xfrm>
            <a:off x="439040" y="3861715"/>
            <a:ext cx="5951844" cy="2495563"/>
            <a:chOff x="6716878" y="2607135"/>
            <a:chExt cx="3965545" cy="2495563"/>
          </a:xfrm>
        </p:grpSpPr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D2C82600-14BC-456E-AF36-BE077C606C33}"/>
                </a:ext>
              </a:extLst>
            </p:cNvPr>
            <p:cNvGrpSpPr/>
            <p:nvPr/>
          </p:nvGrpSpPr>
          <p:grpSpPr>
            <a:xfrm rot="16200000">
              <a:off x="6001213" y="3322800"/>
              <a:ext cx="2495563" cy="1064233"/>
              <a:chOff x="3543125" y="1992765"/>
              <a:chExt cx="15384133" cy="581699"/>
            </a:xfrm>
          </p:grpSpPr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1C565B3E-1A8C-48F0-A316-8FBE64462DA5}"/>
                  </a:ext>
                </a:extLst>
              </p:cNvPr>
              <p:cNvSpPr/>
              <p:nvPr/>
            </p:nvSpPr>
            <p:spPr>
              <a:xfrm>
                <a:off x="5252885" y="1992765"/>
                <a:ext cx="13674373" cy="581698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7399EC51-DF80-45FA-8A3E-D72143747ACC}"/>
                  </a:ext>
                </a:extLst>
              </p:cNvPr>
              <p:cNvSpPr/>
              <p:nvPr/>
            </p:nvSpPr>
            <p:spPr>
              <a:xfrm>
                <a:off x="3543125" y="1992767"/>
                <a:ext cx="12719141" cy="581697"/>
              </a:xfrm>
              <a:prstGeom prst="rect">
                <a:avLst/>
              </a:prstGeom>
              <a:solidFill>
                <a:srgbClr val="7CC3D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B3F69FAD-522E-4916-AB8D-B68D525C0A9E}"/>
                </a:ext>
              </a:extLst>
            </p:cNvPr>
            <p:cNvSpPr txBox="1"/>
            <p:nvPr/>
          </p:nvSpPr>
          <p:spPr>
            <a:xfrm>
              <a:off x="7959641" y="2944467"/>
              <a:ext cx="2722782" cy="40722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300" normalizeH="0" baseline="0" noProof="0" dirty="0">
                  <a:ln>
                    <a:noFill/>
                  </a:ln>
                  <a:solidFill>
                    <a:srgbClr val="7CC3D6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RIVING CHANGE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3073FB50-6A53-42A6-8694-BCC01068AB66}"/>
                </a:ext>
              </a:extLst>
            </p:cNvPr>
            <p:cNvSpPr txBox="1"/>
            <p:nvPr/>
          </p:nvSpPr>
          <p:spPr>
            <a:xfrm>
              <a:off x="7938706" y="3321110"/>
              <a:ext cx="1029465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4000" kern="1200" dirty="0">
                  <a:solidFill>
                    <a:srgbClr val="00000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90</a:t>
              </a: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%</a:t>
              </a:r>
            </a:p>
          </p:txBody>
        </p:sp>
        <p:sp>
          <p:nvSpPr>
            <p:cNvPr id="122" name="TextBox 121" descr="44 of 49 LEAs are adjusting their processes as a result of what they learned during the monitoring visits.">
              <a:extLst>
                <a:ext uri="{FF2B5EF4-FFF2-40B4-BE49-F238E27FC236}">
                  <a16:creationId xmlns:a16="http://schemas.microsoft.com/office/drawing/2014/main" id="{D9F8F900-5C50-4C98-9074-0D9A1A5CEC2C}"/>
                </a:ext>
              </a:extLst>
            </p:cNvPr>
            <p:cNvSpPr txBox="1"/>
            <p:nvPr/>
          </p:nvSpPr>
          <p:spPr>
            <a:xfrm>
              <a:off x="7938706" y="3920858"/>
              <a:ext cx="2248198" cy="849656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1200" dirty="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44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 of </a:t>
              </a:r>
              <a:r>
                <a:rPr lang="en-US" sz="1400" b="1" kern="1200" dirty="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49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 LEAs are adjusting their processes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as a result of what they learned during the monitoring visits</a:t>
              </a:r>
              <a:r>
                <a:rPr lang="en-US" sz="1400" kern="1200" dirty="0">
                  <a:solidFill>
                    <a:srgbClr val="000000"/>
                  </a:solidFill>
                  <a:latin typeface="Open Sans"/>
                  <a:ea typeface="Open Sans"/>
                  <a:cs typeface="Open Sans"/>
                </a:rPr>
                <a:t>.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E181F09-3B56-4A86-9972-FF59189E9961}"/>
              </a:ext>
            </a:extLst>
          </p:cNvPr>
          <p:cNvSpPr txBox="1"/>
          <p:nvPr/>
        </p:nvSpPr>
        <p:spPr>
          <a:xfrm>
            <a:off x="7091863" y="1305667"/>
            <a:ext cx="4086594" cy="4072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1200" spc="300" dirty="0">
                <a:solidFill>
                  <a:srgbClr val="0097A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AT WE HEARD</a:t>
            </a:r>
            <a:endParaRPr kumimoji="0" lang="en-US" sz="2400" b="1" i="0" u="none" strike="noStrike" kern="1200" cap="none" spc="300" normalizeH="0" baseline="0" noProof="0" dirty="0">
              <a:ln>
                <a:noFill/>
              </a:ln>
              <a:solidFill>
                <a:srgbClr val="0097A9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BBCABFB-6286-442D-90EA-8A565B7993DB}"/>
              </a:ext>
            </a:extLst>
          </p:cNvPr>
          <p:cNvSpPr txBox="1"/>
          <p:nvPr/>
        </p:nvSpPr>
        <p:spPr>
          <a:xfrm>
            <a:off x="7168623" y="1947437"/>
            <a:ext cx="369450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“It was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ood to hear we are doing things right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here's some things to improve on and not be faced with an audit </a:t>
            </a: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wn the road that says we misspent funds, you owe this much money back.”</a:t>
            </a:r>
          </a:p>
        </p:txBody>
      </p:sp>
      <p:sp>
        <p:nvSpPr>
          <p:cNvPr id="21" name="TextBox 20" descr="&quot;The monitors gave practical guidance on certain procedures and protocols not commonly known. This will be helpful as we spent the remainder of our ESSER funds">
            <a:extLst>
              <a:ext uri="{FF2B5EF4-FFF2-40B4-BE49-F238E27FC236}">
                <a16:creationId xmlns:a16="http://schemas.microsoft.com/office/drawing/2014/main" id="{2565E29A-458C-4830-8513-112826EC0F34}"/>
              </a:ext>
            </a:extLst>
          </p:cNvPr>
          <p:cNvSpPr txBox="1"/>
          <p:nvPr/>
        </p:nvSpPr>
        <p:spPr>
          <a:xfrm>
            <a:off x="7094721" y="3535324"/>
            <a:ext cx="3813751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"The monitors gave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actical guidance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 certain procedures and protocols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 commonly know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This will be helpful as we spent the remainder of our ESSER funds.”</a:t>
            </a:r>
          </a:p>
        </p:txBody>
      </p:sp>
      <p:sp>
        <p:nvSpPr>
          <p:cNvPr id="22" name="TextBox 21" descr="&quot;The monitoring team did a great job of connecting with my team, helping us through the process in a non-threatening manner, and helping us to understand how the monitoring process worked.&quot;&#10;">
            <a:extLst>
              <a:ext uri="{FF2B5EF4-FFF2-40B4-BE49-F238E27FC236}">
                <a16:creationId xmlns:a16="http://schemas.microsoft.com/office/drawing/2014/main" id="{71F1BFE9-EDCB-4191-9ABD-3D1788143A75}"/>
              </a:ext>
            </a:extLst>
          </p:cNvPr>
          <p:cNvSpPr txBox="1"/>
          <p:nvPr/>
        </p:nvSpPr>
        <p:spPr>
          <a:xfrm>
            <a:off x="7130900" y="5046713"/>
            <a:ext cx="3817768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"The monitoring team did a great job of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necting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with my team, helping us through the process in a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n-threatening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manner, and helping us to understand how the monitoring process worked."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42D1BF8-7418-416A-B245-9B65B86EDE0C}"/>
              </a:ext>
            </a:extLst>
          </p:cNvPr>
          <p:cNvSpPr/>
          <p:nvPr/>
        </p:nvSpPr>
        <p:spPr bwMode="gray">
          <a:xfrm>
            <a:off x="4440604" y="6479649"/>
            <a:ext cx="3538243" cy="40722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800" i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Feedback data is as of March 31, 2023.</a:t>
            </a:r>
          </a:p>
        </p:txBody>
      </p:sp>
      <p:sp>
        <p:nvSpPr>
          <p:cNvPr id="25" name="Double Bracket 24">
            <a:extLst>
              <a:ext uri="{FF2B5EF4-FFF2-40B4-BE49-F238E27FC236}">
                <a16:creationId xmlns:a16="http://schemas.microsoft.com/office/drawing/2014/main" id="{FC7B4303-B06D-43E2-B9BB-E7974F60CB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894364" y="4796790"/>
            <a:ext cx="4318466" cy="1371600"/>
          </a:xfrm>
          <a:prstGeom prst="bracketPair">
            <a:avLst/>
          </a:prstGeom>
          <a:ln w="57150">
            <a:solidFill>
              <a:srgbClr val="0097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Double Bracket 28">
            <a:extLst>
              <a:ext uri="{FF2B5EF4-FFF2-40B4-BE49-F238E27FC236}">
                <a16:creationId xmlns:a16="http://schemas.microsoft.com/office/drawing/2014/main" id="{5EAF951E-1DD2-4BEB-97B7-60442AF724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880551" y="3294751"/>
            <a:ext cx="4318466" cy="1371600"/>
          </a:xfrm>
          <a:prstGeom prst="bracketPair">
            <a:avLst/>
          </a:prstGeom>
          <a:ln w="57150">
            <a:solidFill>
              <a:srgbClr val="0097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Double Bracket 29">
            <a:extLst>
              <a:ext uri="{FF2B5EF4-FFF2-40B4-BE49-F238E27FC236}">
                <a16:creationId xmlns:a16="http://schemas.microsoft.com/office/drawing/2014/main" id="{B4021E06-DC1E-4F0A-AEB4-2D1A2BA576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859991" y="1757785"/>
            <a:ext cx="4318466" cy="1371600"/>
          </a:xfrm>
          <a:prstGeom prst="bracketPair">
            <a:avLst/>
          </a:prstGeom>
          <a:ln w="57150">
            <a:solidFill>
              <a:srgbClr val="0097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6" name="object 3">
            <a:extLst>
              <a:ext uri="{FF2B5EF4-FFF2-40B4-BE49-F238E27FC236}">
                <a16:creationId xmlns:a16="http://schemas.microsoft.com/office/drawing/2014/main" id="{CA9C92AF-72C2-4275-B5BD-AB6C9248D4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6120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12"/>
          <p:cNvSpPr txBox="1">
            <a:spLocks noGrp="1"/>
          </p:cNvSpPr>
          <p:nvPr>
            <p:ph type="title"/>
          </p:nvPr>
        </p:nvSpPr>
        <p:spPr>
          <a:xfrm>
            <a:off x="444500" y="294516"/>
            <a:ext cx="10210544" cy="632865"/>
          </a:xfrm>
          <a:prstGeom prst="rect">
            <a:avLst/>
          </a:prstGeom>
        </p:spPr>
        <p:txBody>
          <a:bodyPr vert="horz" wrap="square" lIns="0" tIns="32384" rIns="0" bIns="0" rtlCol="0">
            <a:spAutoFit/>
          </a:bodyPr>
          <a:lstStyle/>
          <a:p>
            <a:pPr marL="18415">
              <a:lnSpc>
                <a:spcPct val="100000"/>
              </a:lnSpc>
              <a:spcBef>
                <a:spcPts val="254"/>
              </a:spcBef>
            </a:pPr>
            <a:r>
              <a:rPr lang="en-US" sz="2100" spc="-2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SER Monitoring Progress</a:t>
            </a:r>
            <a:br>
              <a:rPr lang="en-US" sz="2100" spc="-2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800" b="0" dirty="0">
                <a:solidFill>
                  <a:srgbClr val="52555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As with completed ESSER monitoring visits for FY23 as of April 7, 2023</a:t>
            </a:r>
            <a:endParaRPr sz="21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" name="Picture 2" descr="Map showing LEAS with completed ESSER monitoring visits for FY23 as of April 7, 2023. ">
            <a:extLst>
              <a:ext uri="{FF2B5EF4-FFF2-40B4-BE49-F238E27FC236}">
                <a16:creationId xmlns:a16="http://schemas.microsoft.com/office/drawing/2014/main" id="{728C196A-BA65-4DD5-8DAC-B20A866F33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3231" y="1226925"/>
            <a:ext cx="9065538" cy="5102794"/>
          </a:xfrm>
          <a:prstGeom prst="rect">
            <a:avLst/>
          </a:prstGeom>
        </p:spPr>
      </p:pic>
      <p:pic>
        <p:nvPicPr>
          <p:cNvPr id="13" name="object 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10975" y="133350"/>
            <a:ext cx="438150" cy="428625"/>
          </a:xfrm>
          <a:prstGeom prst="rect">
            <a:avLst/>
          </a:prstGeom>
        </p:spPr>
      </p:pic>
      <p:sp>
        <p:nvSpPr>
          <p:cNvPr id="2" name="Cloud 1">
            <a:extLst>
              <a:ext uri="{FF2B5EF4-FFF2-40B4-BE49-F238E27FC236}">
                <a16:creationId xmlns:a16="http://schemas.microsoft.com/office/drawing/2014/main" id="{34BDF8C5-ADE6-4E77-832E-CA1E5CDE56F7}"/>
              </a:ext>
            </a:extLst>
          </p:cNvPr>
          <p:cNvSpPr/>
          <p:nvPr/>
        </p:nvSpPr>
        <p:spPr bwMode="gray">
          <a:xfrm>
            <a:off x="9446895" y="294516"/>
            <a:ext cx="1857376" cy="1005840"/>
          </a:xfrm>
          <a:prstGeom prst="cloud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1 </a:t>
            </a:r>
            <a:r>
              <a:rPr lang="en-US" sz="16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tal completed visits</a:t>
            </a: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 16_9 onscreen" id="{5BF5B43D-7990-4CDA-BE48-497BCBC1470C}" vid="{BE4EDB12-465C-4398-86A0-E4F2803CBF90}"/>
    </a:ext>
  </a:extLst>
</a:theme>
</file>

<file path=ppt/theme/theme3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4.xml><?xml version="1.0" encoding="utf-8"?>
<a:theme xmlns:a="http://schemas.openxmlformats.org/drawingml/2006/main" name="2_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lobal-Timesaver.pptx" id="{D8577C08-60A4-43C4-8E88-91305819E37E}" vid="{059CA17B-DB76-481E-A937-22B7AFC7872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SharedWithUsers xmlns="a7af8e22-4aad-4637-bdfe-8881feb25ebc">
      <UserInfo>
        <DisplayName/>
        <AccountId xsi:nil="true"/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A4E9D8B9AE294BB8664582FC3229C4" ma:contentTypeVersion="3" ma:contentTypeDescription="Create a new document." ma:contentTypeScope="" ma:versionID="2a2d9ea174ca71e18204fe09cb4b5ba8">
  <xsd:schema xmlns:xsd="http://www.w3.org/2001/XMLSchema" xmlns:xs="http://www.w3.org/2001/XMLSchema" xmlns:p="http://schemas.microsoft.com/office/2006/metadata/properties" xmlns:ns1="http://schemas.microsoft.com/sharepoint/v3" xmlns:ns2="a7af8e22-4aad-4637-bdfe-8881feb25ebc" targetNamespace="http://schemas.microsoft.com/office/2006/metadata/properties" ma:root="true" ma:fieldsID="1e1d1e180fd2d7c84c724596e328884d" ns1:_="" ns2:_="">
    <xsd:import namespace="http://schemas.microsoft.com/sharepoint/v3"/>
    <xsd:import namespace="a7af8e22-4aad-4637-bdfe-8881feb25ebc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af8e22-4aad-4637-bdfe-8881feb25eb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CEE5173-658F-4105-89BF-462BB13B107B}">
  <ds:schemaRefs>
    <ds:schemaRef ds:uri="http://purl.org/dc/dcmitype/"/>
    <ds:schemaRef ds:uri="http://purl.org/dc/elements/1.1/"/>
    <ds:schemaRef ds:uri="http://www.w3.org/XML/1998/namespace"/>
    <ds:schemaRef ds:uri="http://purl.org/dc/terms/"/>
    <ds:schemaRef ds:uri="600f56bb-d955-48ee-a325-392bb7b72091"/>
    <ds:schemaRef ds:uri="http://schemas.microsoft.com/office/infopath/2007/PartnerControls"/>
    <ds:schemaRef ds:uri="http://schemas.microsoft.com/office/2006/documentManagement/types"/>
    <ds:schemaRef ds:uri="4e5e2d33-68ff-42fd-81d6-1ece27b905a6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CFCEE7C4-C43A-49E4-8C31-FAC199F098DA}"/>
</file>

<file path=customXml/itemProps3.xml><?xml version="1.0" encoding="utf-8"?>
<ds:datastoreItem xmlns:ds="http://schemas.openxmlformats.org/officeDocument/2006/customXml" ds:itemID="{FE44981C-5EC5-4434-B5F9-82B214D5E3E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664</TotalTime>
  <Words>1228</Words>
  <Application>Microsoft Office PowerPoint</Application>
  <PresentationFormat>Widescreen</PresentationFormat>
  <Paragraphs>201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Arial</vt:lpstr>
      <vt:lpstr>Calibri</vt:lpstr>
      <vt:lpstr>Calibri Light</vt:lpstr>
      <vt:lpstr>Open Sans</vt:lpstr>
      <vt:lpstr>Open Sans Light</vt:lpstr>
      <vt:lpstr>Times New Roman</vt:lpstr>
      <vt:lpstr>Verdana</vt:lpstr>
      <vt:lpstr>Wingdings 2</vt:lpstr>
      <vt:lpstr>Office Theme</vt:lpstr>
      <vt:lpstr>Deloitte 16_9 onscreen</vt:lpstr>
      <vt:lpstr>Deloitte Brand Theme</vt:lpstr>
      <vt:lpstr>2_Deloitte Brand Theme</vt:lpstr>
      <vt:lpstr>think-cell Slide</vt:lpstr>
      <vt:lpstr>Commonwealth of Pennsylvania Department of Education</vt:lpstr>
      <vt:lpstr>Meet Your Facilitator PDE ESSER Monitoring Team</vt:lpstr>
      <vt:lpstr>Agenda</vt:lpstr>
      <vt:lpstr>ESSER Monitoring: Your Friendly Neighborhood Monitor</vt:lpstr>
      <vt:lpstr>ESSER grant funding is NOT “business as usual” Allowable uses for ESSER funds varied greatly from annual recurring grant programs</vt:lpstr>
      <vt:lpstr>ESSER Monitoring Goals</vt:lpstr>
      <vt:lpstr>We’re Your Monitors, Not Your Auditors Leverage your monitors to improve your processes</vt:lpstr>
      <vt:lpstr>Feedback Received From LEAs Local Education Agencies (LEAs) found the ESSER monitoring process supportive and impactful* </vt:lpstr>
      <vt:lpstr>ESSER Monitoring Progress LEAs with completed ESSER monitoring visits for FY23 as of April 7, 2023</vt:lpstr>
      <vt:lpstr>Leading Practices</vt:lpstr>
      <vt:lpstr>Leading Practices: What Successful LEAs Are Doing Practices you can implement up front to save you time (and grant funding) in the long run</vt:lpstr>
      <vt:lpstr>Recordkeeping: Keep It Where You Can Retrieve It….Quickly Organizing support documentation for grant expenditures</vt:lpstr>
      <vt:lpstr>Policies and Procedures: Practice What You Preach Adopt your policy within the federal guidelines</vt:lpstr>
      <vt:lpstr>Preparing for Closeout</vt:lpstr>
      <vt:lpstr>Preparing for Closeou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quering Monitoring</dc:title>
  <dc:creator>Scholhamer, Jordy</dc:creator>
  <cp:lastModifiedBy>Hilary Seibert</cp:lastModifiedBy>
  <cp:revision>83</cp:revision>
  <dcterms:created xsi:type="dcterms:W3CDTF">2023-03-15T16:14:35Z</dcterms:created>
  <dcterms:modified xsi:type="dcterms:W3CDTF">2023-05-24T17:17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A4E9D8B9AE294BB8664582FC3229C4</vt:lpwstr>
  </property>
  <property fmtid="{D5CDD505-2E9C-101B-9397-08002B2CF9AE}" pid="3" name="Created">
    <vt:filetime>2023-01-10T00:00:00Z</vt:filetime>
  </property>
  <property fmtid="{D5CDD505-2E9C-101B-9397-08002B2CF9AE}" pid="4" name="Creator">
    <vt:lpwstr>Acrobat PDFMaker 22 for PowerPoint</vt:lpwstr>
  </property>
  <property fmtid="{D5CDD505-2E9C-101B-9397-08002B2CF9AE}" pid="5" name="LastSaved">
    <vt:filetime>2023-03-15T00:00:00Z</vt:filetime>
  </property>
  <property fmtid="{D5CDD505-2E9C-101B-9397-08002B2CF9AE}" pid="6" name="MSIP_Label_ea60d57e-af5b-4752-ac57-3e4f28ca11dc_ActionId">
    <vt:lpwstr>db8dcbfc-9da1-4960-b70d-4d360a6d5a6c</vt:lpwstr>
  </property>
  <property fmtid="{D5CDD505-2E9C-101B-9397-08002B2CF9AE}" pid="7" name="MSIP_Label_ea60d57e-af5b-4752-ac57-3e4f28ca11dc_ContentBits">
    <vt:lpwstr>0</vt:lpwstr>
  </property>
  <property fmtid="{D5CDD505-2E9C-101B-9397-08002B2CF9AE}" pid="8" name="MSIP_Label_ea60d57e-af5b-4752-ac57-3e4f28ca11dc_Enabled">
    <vt:lpwstr>true</vt:lpwstr>
  </property>
  <property fmtid="{D5CDD505-2E9C-101B-9397-08002B2CF9AE}" pid="9" name="MSIP_Label_ea60d57e-af5b-4752-ac57-3e4f28ca11dc_Method">
    <vt:lpwstr>Standard</vt:lpwstr>
  </property>
  <property fmtid="{D5CDD505-2E9C-101B-9397-08002B2CF9AE}" pid="10" name="MSIP_Label_ea60d57e-af5b-4752-ac57-3e4f28ca11dc_Name">
    <vt:lpwstr>ea60d57e-af5b-4752-ac57-3e4f28ca11dc</vt:lpwstr>
  </property>
  <property fmtid="{D5CDD505-2E9C-101B-9397-08002B2CF9AE}" pid="11" name="MSIP_Label_ea60d57e-af5b-4752-ac57-3e4f28ca11dc_SetDate">
    <vt:lpwstr>2021-04-30T22:39:53Z</vt:lpwstr>
  </property>
  <property fmtid="{D5CDD505-2E9C-101B-9397-08002B2CF9AE}" pid="12" name="MSIP_Label_ea60d57e-af5b-4752-ac57-3e4f28ca11dc_SiteId">
    <vt:lpwstr>36da45f1-dd2c-4d1f-af13-5abe46b99921</vt:lpwstr>
  </property>
  <property fmtid="{D5CDD505-2E9C-101B-9397-08002B2CF9AE}" pid="13" name="Producer">
    <vt:lpwstr>Adobe Acrobat Pro (32-bit) 22 Paper Capture Plug-in</vt:lpwstr>
  </property>
  <property fmtid="{D5CDD505-2E9C-101B-9397-08002B2CF9AE}" pid="14" name="xd_Signature">
    <vt:bool>false</vt:bool>
  </property>
  <property fmtid="{D5CDD505-2E9C-101B-9397-08002B2CF9AE}" pid="15" name="MediaServiceImageTags">
    <vt:lpwstr/>
  </property>
  <property fmtid="{D5CDD505-2E9C-101B-9397-08002B2CF9AE}" pid="16" name="MigrationSourceURL">
    <vt:lpwstr/>
  </property>
  <property fmtid="{D5CDD505-2E9C-101B-9397-08002B2CF9AE}" pid="17" name="Order">
    <vt:r8>1495500</vt:r8>
  </property>
  <property fmtid="{D5CDD505-2E9C-101B-9397-08002B2CF9AE}" pid="18" name="Category">
    <vt:lpwstr/>
  </property>
  <property fmtid="{D5CDD505-2E9C-101B-9397-08002B2CF9AE}" pid="19" name="xd_ProgID">
    <vt:lpwstr/>
  </property>
  <property fmtid="{D5CDD505-2E9C-101B-9397-08002B2CF9AE}" pid="20" name="_SourceUrl">
    <vt:lpwstr/>
  </property>
  <property fmtid="{D5CDD505-2E9C-101B-9397-08002B2CF9AE}" pid="21" name="_SharedFileIndex">
    <vt:lpwstr/>
  </property>
  <property fmtid="{D5CDD505-2E9C-101B-9397-08002B2CF9AE}" pid="22" name="TemplateUrl">
    <vt:lpwstr/>
  </property>
</Properties>
</file>